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8.xml" ContentType="application/vnd.openxmlformats-officedocument.presentationml.notesSlide+xml"/>
  <Override PartName="/ppt/tags/tag24.xml" ContentType="application/vnd.openxmlformats-officedocument.presentationml.tags+xml"/>
  <Override PartName="/ppt/notesSlides/notesSlide9.xml" ContentType="application/vnd.openxmlformats-officedocument.presentationml.notesSlide+xml"/>
  <Override PartName="/ppt/tags/tag25.xml" ContentType="application/vnd.openxmlformats-officedocument.presentationml.tags+xml"/>
  <Override PartName="/ppt/notesSlides/notesSlide10.xml" ContentType="application/vnd.openxmlformats-officedocument.presentationml.notesSlide+xml"/>
  <Override PartName="/ppt/tags/tag26.xml" ContentType="application/vnd.openxmlformats-officedocument.presentationml.tags+xml"/>
  <Override PartName="/ppt/notesSlides/notesSlide11.xml" ContentType="application/vnd.openxmlformats-officedocument.presentationml.notesSlide+xml"/>
  <Override PartName="/ppt/tags/tag27.xml" ContentType="application/vnd.openxmlformats-officedocument.presentationml.tags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9"/>
  </p:notesMasterIdLst>
  <p:handoutMasterIdLst>
    <p:handoutMasterId r:id="rId20"/>
  </p:handoutMasterIdLst>
  <p:sldIdLst>
    <p:sldId id="271" r:id="rId5"/>
    <p:sldId id="257" r:id="rId6"/>
    <p:sldId id="261" r:id="rId7"/>
    <p:sldId id="265" r:id="rId8"/>
    <p:sldId id="262" r:id="rId9"/>
    <p:sldId id="269" r:id="rId10"/>
    <p:sldId id="263" r:id="rId11"/>
    <p:sldId id="274" r:id="rId12"/>
    <p:sldId id="279" r:id="rId13"/>
    <p:sldId id="278" r:id="rId14"/>
    <p:sldId id="264" r:id="rId15"/>
    <p:sldId id="268" r:id="rId16"/>
    <p:sldId id="284" r:id="rId17"/>
    <p:sldId id="259" r:id="rId18"/>
  </p:sldIdLst>
  <p:sldSz cx="12192000" cy="6858000"/>
  <p:notesSz cx="6858000" cy="9144000"/>
  <p:custDataLst>
    <p:tags r:id="rId21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ronhack, mid-term project" id="{54BE3BA0-322C-4C0C-BB3E-80EED059EB44}">
          <p14:sldIdLst>
            <p14:sldId id="271"/>
            <p14:sldId id="257"/>
            <p14:sldId id="261"/>
            <p14:sldId id="265"/>
            <p14:sldId id="262"/>
            <p14:sldId id="269"/>
            <p14:sldId id="263"/>
          </p14:sldIdLst>
        </p14:section>
        <p14:section name="sql" id="{149EC619-282E-4D59-AC27-0743C5BE70EE}">
          <p14:sldIdLst>
            <p14:sldId id="274"/>
          </p14:sldIdLst>
        </p14:section>
        <p14:section name="python" id="{0D6ED79C-4EBF-47DC-8848-DB3F2E53CDC3}">
          <p14:sldIdLst>
            <p14:sldId id="279"/>
          </p14:sldIdLst>
        </p14:section>
        <p14:section name="PowerBI" id="{8BB045DF-D2EA-4E2E-B8A4-BD318ED4E27A}">
          <p14:sldIdLst>
            <p14:sldId id="278"/>
          </p14:sldIdLst>
        </p14:section>
        <p14:section name="Conclusión" id="{A6FC008A-D356-41DD-A110-F968692EF14A}">
          <p14:sldIdLst>
            <p14:sldId id="264"/>
            <p14:sldId id="268"/>
            <p14:sldId id="284"/>
          </p14:sldIdLst>
        </p14:section>
        <p14:section name="END" id="{6052F396-5DD4-4D15-B4CE-C7DC57AFD223}">
          <p14:sldIdLst>
            <p14:sldId id="25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663" userDrawn="1">
          <p15:clr>
            <a:srgbClr val="A4A3A4"/>
          </p15:clr>
        </p15:guide>
        <p15:guide id="2" pos="325" userDrawn="1">
          <p15:clr>
            <a:srgbClr val="A4A3A4"/>
          </p15:clr>
        </p15:guide>
        <p15:guide id="3" pos="7378" userDrawn="1">
          <p15:clr>
            <a:srgbClr val="A4A3A4"/>
          </p15:clr>
        </p15:guide>
        <p15:guide id="4" orient="horz" pos="390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32C3FF"/>
    <a:srgbClr val="89DDFF"/>
    <a:srgbClr val="01B6FF"/>
    <a:srgbClr val="C2C2C2"/>
    <a:srgbClr val="FFFFB2"/>
    <a:srgbClr val="FFFF00"/>
    <a:srgbClr val="FFE600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83CEA4F-D930-406D-8F4D-AEC51A1E6070}" v="4773" dt="2022-11-24T16:18:42.811"/>
    <p1510:client id="{98FCD910-96B8-4FBD-B873-F7DFA452F248}" v="1305" dt="2022-11-23T16:49:13.320"/>
    <p1510:client id="{B72382DE-DD2E-41EE-B7A2-9D431A601203}" v="43577" vWet="43585" dt="2022-11-24T15:56:03.91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6343" autoAdjust="0"/>
  </p:normalViewPr>
  <p:slideViewPr>
    <p:cSldViewPr snapToGrid="0">
      <p:cViewPr varScale="1">
        <p:scale>
          <a:sx n="59" d="100"/>
          <a:sy n="59" d="100"/>
        </p:scale>
        <p:origin x="868" y="60"/>
      </p:cViewPr>
      <p:guideLst>
        <p:guide orient="horz" pos="663"/>
        <p:guide pos="325"/>
        <p:guide pos="7378"/>
        <p:guide orient="horz" pos="390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an Viladomiu Tora" userId="769a1043-f370-4a5b-a0e1-4e76db633912" providerId="ADAL" clId="{B72382DE-DD2E-41EE-B7A2-9D431A601203}"/>
    <pc:docChg chg="undo redo custSel addSld delSld modSld sldOrd modMainMaster addSection delSection modSection modNotesMaster">
      <pc:chgData name="Joan Viladomiu Tora" userId="769a1043-f370-4a5b-a0e1-4e76db633912" providerId="ADAL" clId="{B72382DE-DD2E-41EE-B7A2-9D431A601203}" dt="2022-11-24T15:33:10.205" v="15133" actId="478"/>
      <pc:docMkLst>
        <pc:docMk/>
      </pc:docMkLst>
      <pc:sldChg chg="addSp delSp modSp del mod modNotes">
        <pc:chgData name="Joan Viladomiu Tora" userId="769a1043-f370-4a5b-a0e1-4e76db633912" providerId="ADAL" clId="{B72382DE-DD2E-41EE-B7A2-9D431A601203}" dt="2022-11-23T22:16:51.551" v="6638" actId="47"/>
        <pc:sldMkLst>
          <pc:docMk/>
          <pc:sldMk cId="2838035828" sldId="256"/>
        </pc:sldMkLst>
        <pc:spChg chg="mod ord">
          <ac:chgData name="Joan Viladomiu Tora" userId="769a1043-f370-4a5b-a0e1-4e76db633912" providerId="ADAL" clId="{B72382DE-DD2E-41EE-B7A2-9D431A601203}" dt="2022-11-23T18:02:20.177" v="4312" actId="948"/>
          <ac:spMkLst>
            <pc:docMk/>
            <pc:sldMk cId="2838035828" sldId="256"/>
            <ac:spMk id="2" creationId="{F5BEA453-86B2-4D6B-8F50-1355083F9C6F}"/>
          </ac:spMkLst>
        </pc:spChg>
        <pc:spChg chg="mod ord">
          <ac:chgData name="Joan Viladomiu Tora" userId="769a1043-f370-4a5b-a0e1-4e76db633912" providerId="ADAL" clId="{B72382DE-DD2E-41EE-B7A2-9D431A601203}" dt="2022-11-23T18:02:17.946" v="3609" actId="947"/>
          <ac:spMkLst>
            <pc:docMk/>
            <pc:sldMk cId="2838035828" sldId="256"/>
            <ac:spMk id="3" creationId="{53C366B4-FEF8-42A4-9EB9-64A743FF12B5}"/>
          </ac:spMkLst>
        </pc:spChg>
        <pc:spChg chg="add mod ord">
          <ac:chgData name="Joan Viladomiu Tora" userId="769a1043-f370-4a5b-a0e1-4e76db633912" providerId="ADAL" clId="{B72382DE-DD2E-41EE-B7A2-9D431A601203}" dt="2022-11-23T18:02:17.974" v="3613" actId="20577"/>
          <ac:spMkLst>
            <pc:docMk/>
            <pc:sldMk cId="2838035828" sldId="256"/>
            <ac:spMk id="4" creationId="{32BAFD0C-8DC4-4BAE-8E98-762E0FE29B70}"/>
          </ac:spMkLst>
        </pc:spChg>
        <pc:spChg chg="add del mod modVis">
          <ac:chgData name="Joan Viladomiu Tora" userId="769a1043-f370-4a5b-a0e1-4e76db633912" providerId="ADAL" clId="{B72382DE-DD2E-41EE-B7A2-9D431A601203}" dt="2022-11-23T17:18:57.908" v="493"/>
          <ac:spMkLst>
            <pc:docMk/>
            <pc:sldMk cId="2838035828" sldId="256"/>
            <ac:spMk id="6" creationId="{E0DD17C2-AA13-4725-8C1B-EC3A9BD3FF05}"/>
          </ac:spMkLst>
        </pc:spChg>
        <pc:spChg chg="add del mod modVis">
          <ac:chgData name="Joan Viladomiu Tora" userId="769a1043-f370-4a5b-a0e1-4e76db633912" providerId="ADAL" clId="{B72382DE-DD2E-41EE-B7A2-9D431A601203}" dt="2022-11-23T17:19:03.623" v="551"/>
          <ac:spMkLst>
            <pc:docMk/>
            <pc:sldMk cId="2838035828" sldId="256"/>
            <ac:spMk id="7" creationId="{9ECE009E-8386-4F44-8898-2015B8461BC1}"/>
          </ac:spMkLst>
        </pc:spChg>
        <pc:spChg chg="add del mod modVis">
          <ac:chgData name="Joan Viladomiu Tora" userId="769a1043-f370-4a5b-a0e1-4e76db633912" providerId="ADAL" clId="{B72382DE-DD2E-41EE-B7A2-9D431A601203}" dt="2022-11-23T17:19:16.162" v="615"/>
          <ac:spMkLst>
            <pc:docMk/>
            <pc:sldMk cId="2838035828" sldId="256"/>
            <ac:spMk id="8" creationId="{DF8D3361-CA4C-443D-AAA6-D8507ED3B3EA}"/>
          </ac:spMkLst>
        </pc:spChg>
        <pc:spChg chg="add del mod modVis">
          <ac:chgData name="Joan Viladomiu Tora" userId="769a1043-f370-4a5b-a0e1-4e76db633912" providerId="ADAL" clId="{B72382DE-DD2E-41EE-B7A2-9D431A601203}" dt="2022-11-23T17:19:17.731" v="673"/>
          <ac:spMkLst>
            <pc:docMk/>
            <pc:sldMk cId="2838035828" sldId="256"/>
            <ac:spMk id="9" creationId="{98479C56-F730-4E2F-8B6D-5B5D04EFB2E7}"/>
          </ac:spMkLst>
        </pc:spChg>
        <pc:spChg chg="add del mod modVis">
          <ac:chgData name="Joan Viladomiu Tora" userId="769a1043-f370-4a5b-a0e1-4e76db633912" providerId="ADAL" clId="{B72382DE-DD2E-41EE-B7A2-9D431A601203}" dt="2022-11-23T17:19:23.582" v="731"/>
          <ac:spMkLst>
            <pc:docMk/>
            <pc:sldMk cId="2838035828" sldId="256"/>
            <ac:spMk id="10" creationId="{81DBD9F8-525F-4EF2-9160-E25C30C9CA2D}"/>
          </ac:spMkLst>
        </pc:spChg>
        <pc:spChg chg="add del mod modVis">
          <ac:chgData name="Joan Viladomiu Tora" userId="769a1043-f370-4a5b-a0e1-4e76db633912" providerId="ADAL" clId="{B72382DE-DD2E-41EE-B7A2-9D431A601203}" dt="2022-11-23T17:19:26.147" v="789"/>
          <ac:spMkLst>
            <pc:docMk/>
            <pc:sldMk cId="2838035828" sldId="256"/>
            <ac:spMk id="11" creationId="{402EDF54-7710-4F4E-A031-67475973F48B}"/>
          </ac:spMkLst>
        </pc:spChg>
        <pc:spChg chg="add del mod modVis">
          <ac:chgData name="Joan Viladomiu Tora" userId="769a1043-f370-4a5b-a0e1-4e76db633912" providerId="ADAL" clId="{B72382DE-DD2E-41EE-B7A2-9D431A601203}" dt="2022-11-23T17:19:33.265" v="847"/>
          <ac:spMkLst>
            <pc:docMk/>
            <pc:sldMk cId="2838035828" sldId="256"/>
            <ac:spMk id="12" creationId="{20206D87-A9D4-4832-8FE6-6CFB9AF45D7C}"/>
          </ac:spMkLst>
        </pc:spChg>
        <pc:spChg chg="add del mod modVis">
          <ac:chgData name="Joan Viladomiu Tora" userId="769a1043-f370-4a5b-a0e1-4e76db633912" providerId="ADAL" clId="{B72382DE-DD2E-41EE-B7A2-9D431A601203}" dt="2022-11-23T17:20:08.092" v="907"/>
          <ac:spMkLst>
            <pc:docMk/>
            <pc:sldMk cId="2838035828" sldId="256"/>
            <ac:spMk id="13" creationId="{CB3AC2ED-8072-453F-9F10-FFB8943F478D}"/>
          </ac:spMkLst>
        </pc:spChg>
        <pc:spChg chg="add del mod modVis">
          <ac:chgData name="Joan Viladomiu Tora" userId="769a1043-f370-4a5b-a0e1-4e76db633912" providerId="ADAL" clId="{B72382DE-DD2E-41EE-B7A2-9D431A601203}" dt="2022-11-23T17:20:28.570" v="965"/>
          <ac:spMkLst>
            <pc:docMk/>
            <pc:sldMk cId="2838035828" sldId="256"/>
            <ac:spMk id="14" creationId="{8A2E79B5-061C-4EF2-8555-3375028AAD6C}"/>
          </ac:spMkLst>
        </pc:spChg>
        <pc:spChg chg="add del mod modVis">
          <ac:chgData name="Joan Viladomiu Tora" userId="769a1043-f370-4a5b-a0e1-4e76db633912" providerId="ADAL" clId="{B72382DE-DD2E-41EE-B7A2-9D431A601203}" dt="2022-11-23T17:20:31.907" v="1023"/>
          <ac:spMkLst>
            <pc:docMk/>
            <pc:sldMk cId="2838035828" sldId="256"/>
            <ac:spMk id="15" creationId="{6D440D46-F869-4D26-9193-68B3585E9176}"/>
          </ac:spMkLst>
        </pc:spChg>
        <pc:spChg chg="add del mod modVis">
          <ac:chgData name="Joan Viladomiu Tora" userId="769a1043-f370-4a5b-a0e1-4e76db633912" providerId="ADAL" clId="{B72382DE-DD2E-41EE-B7A2-9D431A601203}" dt="2022-11-23T17:20:43.545" v="1081"/>
          <ac:spMkLst>
            <pc:docMk/>
            <pc:sldMk cId="2838035828" sldId="256"/>
            <ac:spMk id="16" creationId="{084EBA11-CD72-401F-A804-E4F455B54CEE}"/>
          </ac:spMkLst>
        </pc:spChg>
        <pc:spChg chg="add del mod modVis">
          <ac:chgData name="Joan Viladomiu Tora" userId="769a1043-f370-4a5b-a0e1-4e76db633912" providerId="ADAL" clId="{B72382DE-DD2E-41EE-B7A2-9D431A601203}" dt="2022-11-23T17:43:30.649" v="3076"/>
          <ac:spMkLst>
            <pc:docMk/>
            <pc:sldMk cId="2838035828" sldId="256"/>
            <ac:spMk id="17" creationId="{DD1F5A00-C7A6-42D7-A70A-D1D573F90C20}"/>
          </ac:spMkLst>
        </pc:spChg>
        <pc:spChg chg="del mod modVis">
          <ac:chgData name="Joan Viladomiu Tora" userId="769a1043-f370-4a5b-a0e1-4e76db633912" providerId="ADAL" clId="{B72382DE-DD2E-41EE-B7A2-9D431A601203}" dt="2022-11-23T18:02:20.513" v="4502" actId="478"/>
          <ac:spMkLst>
            <pc:docMk/>
            <pc:sldMk cId="2838035828" sldId="256"/>
            <ac:spMk id="18" creationId="{8A4E1003-01D2-415D-A3A0-DF26C3B54DD5}"/>
          </ac:spMkLst>
        </pc:spChg>
        <pc:graphicFrameChg chg="mod">
          <ac:chgData name="Joan Viladomiu Tora" userId="769a1043-f370-4a5b-a0e1-4e76db633912" providerId="ADAL" clId="{B72382DE-DD2E-41EE-B7A2-9D431A601203}" dt="2022-11-23T18:02:20.520" v="4503" actId="1076"/>
          <ac:graphicFrameMkLst>
            <pc:docMk/>
            <pc:sldMk cId="2838035828" sldId="256"/>
            <ac:graphicFrameMk id="5" creationId="{031B39ED-941B-40A2-BB3C-B76D12F43DA7}"/>
          </ac:graphicFrameMkLst>
        </pc:graphicFrameChg>
        <pc:picChg chg="mod ord">
          <ac:chgData name="Joan Viladomiu Tora" userId="769a1043-f370-4a5b-a0e1-4e76db633912" providerId="ADAL" clId="{B72382DE-DD2E-41EE-B7A2-9D431A601203}" dt="2022-11-23T17:19:51.053" v="850" actId="1076"/>
          <ac:picMkLst>
            <pc:docMk/>
            <pc:sldMk cId="2838035828" sldId="256"/>
            <ac:picMk id="28" creationId="{4D0B4D89-D248-4F23-8CBA-EC3EA727D0A6}"/>
          </ac:picMkLst>
        </pc:picChg>
      </pc:sldChg>
      <pc:sldChg chg="addSp delSp modSp mod modNotes">
        <pc:chgData name="Joan Viladomiu Tora" userId="769a1043-f370-4a5b-a0e1-4e76db633912" providerId="ADAL" clId="{B72382DE-DD2E-41EE-B7A2-9D431A601203}" dt="2022-11-24T15:32:42.967" v="15132" actId="478"/>
        <pc:sldMkLst>
          <pc:docMk/>
          <pc:sldMk cId="1082496383" sldId="257"/>
        </pc:sldMkLst>
        <pc:spChg chg="add del mod modVis">
          <ac:chgData name="Joan Viladomiu Tora" userId="769a1043-f370-4a5b-a0e1-4e76db633912" providerId="ADAL" clId="{B72382DE-DD2E-41EE-B7A2-9D431A601203}" dt="2022-11-23T17:25:19.789" v="1230"/>
          <ac:spMkLst>
            <pc:docMk/>
            <pc:sldMk cId="1082496383" sldId="257"/>
            <ac:spMk id="2" creationId="{9D95A51F-6A4D-487B-8966-FE420F9C0D4F}"/>
          </ac:spMkLst>
        </pc:spChg>
        <pc:spChg chg="add del mod modVis">
          <ac:chgData name="Joan Viladomiu Tora" userId="769a1043-f370-4a5b-a0e1-4e76db633912" providerId="ADAL" clId="{B72382DE-DD2E-41EE-B7A2-9D431A601203}" dt="2022-11-23T17:25:40.191" v="1284"/>
          <ac:spMkLst>
            <pc:docMk/>
            <pc:sldMk cId="1082496383" sldId="257"/>
            <ac:spMk id="3" creationId="{BE74F76A-DCAB-4A4E-AE98-D7E50E67C0B3}"/>
          </ac:spMkLst>
        </pc:spChg>
        <pc:spChg chg="mod">
          <ac:chgData name="Joan Viladomiu Tora" userId="769a1043-f370-4a5b-a0e1-4e76db633912" providerId="ADAL" clId="{B72382DE-DD2E-41EE-B7A2-9D431A601203}" dt="2022-11-23T18:02:20.251" v="4363" actId="948"/>
          <ac:spMkLst>
            <pc:docMk/>
            <pc:sldMk cId="1082496383" sldId="257"/>
            <ac:spMk id="4" creationId="{9DFA7553-47CC-4F0D-82EF-804F97A4A83A}"/>
          </ac:spMkLst>
        </pc:spChg>
        <pc:spChg chg="del mod">
          <ac:chgData name="Joan Viladomiu Tora" userId="769a1043-f370-4a5b-a0e1-4e76db633912" providerId="ADAL" clId="{B72382DE-DD2E-41EE-B7A2-9D431A601203}" dt="2022-11-23T22:41:35.333" v="8274" actId="478"/>
          <ac:spMkLst>
            <pc:docMk/>
            <pc:sldMk cId="1082496383" sldId="257"/>
            <ac:spMk id="6" creationId="{B08F3F55-E37B-462A-8811-AD30745088DC}"/>
          </ac:spMkLst>
        </pc:spChg>
        <pc:spChg chg="del">
          <ac:chgData name="Joan Viladomiu Tora" userId="769a1043-f370-4a5b-a0e1-4e76db633912" providerId="ADAL" clId="{B72382DE-DD2E-41EE-B7A2-9D431A601203}" dt="2022-11-23T17:24:34.509" v="1172" actId="478"/>
          <ac:spMkLst>
            <pc:docMk/>
            <pc:sldMk cId="1082496383" sldId="257"/>
            <ac:spMk id="7" creationId="{1AF8211D-4753-47C0-9939-B16D77886184}"/>
          </ac:spMkLst>
        </pc:spChg>
        <pc:spChg chg="add del mod">
          <ac:chgData name="Joan Viladomiu Tora" userId="769a1043-f370-4a5b-a0e1-4e76db633912" providerId="ADAL" clId="{B72382DE-DD2E-41EE-B7A2-9D431A601203}" dt="2022-11-23T22:41:22.043" v="8272" actId="478"/>
          <ac:spMkLst>
            <pc:docMk/>
            <pc:sldMk cId="1082496383" sldId="257"/>
            <ac:spMk id="8" creationId="{137EF13C-F1EB-47D6-8730-69864CFF1594}"/>
          </ac:spMkLst>
        </pc:spChg>
        <pc:spChg chg="add del mod">
          <ac:chgData name="Joan Viladomiu Tora" userId="769a1043-f370-4a5b-a0e1-4e76db633912" providerId="ADAL" clId="{B72382DE-DD2E-41EE-B7A2-9D431A601203}" dt="2022-11-23T22:41:43.457" v="8275" actId="478"/>
          <ac:spMkLst>
            <pc:docMk/>
            <pc:sldMk cId="1082496383" sldId="257"/>
            <ac:spMk id="9" creationId="{42BCC947-A9FC-4F6A-8C7F-4214CEF5D18E}"/>
          </ac:spMkLst>
        </pc:spChg>
        <pc:spChg chg="add del mod modVis">
          <ac:chgData name="Joan Viladomiu Tora" userId="769a1043-f370-4a5b-a0e1-4e76db633912" providerId="ADAL" clId="{B72382DE-DD2E-41EE-B7A2-9D431A601203}" dt="2022-11-23T17:25:41.926" v="1334"/>
          <ac:spMkLst>
            <pc:docMk/>
            <pc:sldMk cId="1082496383" sldId="257"/>
            <ac:spMk id="9" creationId="{969D06C6-BA71-42E5-9784-CDBD56D7F474}"/>
          </ac:spMkLst>
        </pc:spChg>
        <pc:spChg chg="add del mod modVis">
          <ac:chgData name="Joan Viladomiu Tora" userId="769a1043-f370-4a5b-a0e1-4e76db633912" providerId="ADAL" clId="{B72382DE-DD2E-41EE-B7A2-9D431A601203}" dt="2022-11-23T17:25:42.578" v="1377"/>
          <ac:spMkLst>
            <pc:docMk/>
            <pc:sldMk cId="1082496383" sldId="257"/>
            <ac:spMk id="10" creationId="{4F3726E0-A06F-43E6-B96D-9092050513C8}"/>
          </ac:spMkLst>
        </pc:spChg>
        <pc:spChg chg="add del mod modVis">
          <ac:chgData name="Joan Viladomiu Tora" userId="769a1043-f370-4a5b-a0e1-4e76db633912" providerId="ADAL" clId="{B72382DE-DD2E-41EE-B7A2-9D431A601203}" dt="2022-11-23T17:25:54.053" v="1420"/>
          <ac:spMkLst>
            <pc:docMk/>
            <pc:sldMk cId="1082496383" sldId="257"/>
            <ac:spMk id="11" creationId="{98632933-7E0F-4E0A-B27F-67D8F2AE1FFA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13" creationId="{DB7C7C6D-EB23-4800-ADF6-B12DB3AF3AAD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14" creationId="{BBC600D1-6853-40EF-9F3E-B65C1A4FF875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15" creationId="{9B8992DF-27C7-4D60-BF4F-EFBF3E65BBD1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16" creationId="{B4E85BA0-D165-4F54-A81B-C3EC07BDD493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18" creationId="{7657A7AA-F554-4B3B-86D4-72795FFB5182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19" creationId="{3A781C31-A8ED-480F-943C-9F5598B2D6FE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20" creationId="{69562C92-D782-4945-9E7D-9481F9C27CAF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21" creationId="{D8AD6386-4279-4365-9D6F-76BA036D4147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23" creationId="{AF65E454-C143-42A9-8F6D-5159D7D795DD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25" creationId="{98AF13AF-22CC-4725-A3D5-0187073D7032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26" creationId="{C4748A87-2859-46B8-A995-FE627734C72D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27" creationId="{E954AFEF-F761-4634-ABCD-78D36B1C5474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28" creationId="{9EC48D41-3CB9-4FBF-9EE0-C7677CEDCA3B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30" creationId="{17D98734-A540-4BB7-90CB-4E4D3BC908DE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32" creationId="{D721ACD9-8903-4EFE-93C5-54DC58710A00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33" creationId="{CFFAE18D-542F-4CD3-B3E4-450F424D3061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34" creationId="{9BE59857-3599-42B9-AA6B-F63D2BAC3379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35" creationId="{B8E8F183-6A4C-4499-BC08-38DEF9995BC9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37" creationId="{A22A83F4-C960-4D4B-9CD1-6FCFAFA03AA2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39" creationId="{1584C0C1-0D6E-45FA-B081-1B3E9ED855E0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40" creationId="{4F40D161-F370-41F8-B04F-5EE3DB380CA7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41" creationId="{1736D71B-3057-4990-9C93-29852F63E8E7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42" creationId="{58712BBB-EC35-489F-A636-2BDA3350E2DE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44" creationId="{3AB55CCC-1845-4EE7-8D9B-C52C1558B90D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45" creationId="{A831F5E0-CFC0-4928-AE11-21D21DFF9F52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46" creationId="{C1D351A7-A892-4674-AC0E-5F7240D1E087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47" creationId="{F5ED1CF1-78D2-477A-9BC0-A2F0757A2EF3}"/>
          </ac:spMkLst>
        </pc:spChg>
        <pc:spChg chg="mod topLvl">
          <ac:chgData name="Joan Viladomiu Tora" userId="769a1043-f370-4a5b-a0e1-4e76db633912" providerId="ADAL" clId="{B72382DE-DD2E-41EE-B7A2-9D431A601203}" dt="2022-11-23T18:02:17.988" v="3623" actId="947"/>
          <ac:spMkLst>
            <pc:docMk/>
            <pc:sldMk cId="1082496383" sldId="257"/>
            <ac:spMk id="49" creationId="{1A6AEFB7-0C17-491B-A220-3F6E95989AB8}"/>
          </ac:spMkLst>
        </pc:spChg>
        <pc:spChg chg="add del mod topLvl">
          <ac:chgData name="Joan Viladomiu Tora" userId="769a1043-f370-4a5b-a0e1-4e76db633912" providerId="ADAL" clId="{B72382DE-DD2E-41EE-B7A2-9D431A601203}" dt="2022-11-23T18:02:17.992" v="3627" actId="20577"/>
          <ac:spMkLst>
            <pc:docMk/>
            <pc:sldMk cId="1082496383" sldId="257"/>
            <ac:spMk id="50" creationId="{43C79D3A-5C66-46C5-9606-605D7CDDC4C7}"/>
          </ac:spMkLst>
        </pc:spChg>
        <pc:spChg chg="mod topLvl">
          <ac:chgData name="Joan Viladomiu Tora" userId="769a1043-f370-4a5b-a0e1-4e76db633912" providerId="ADAL" clId="{B72382DE-DD2E-41EE-B7A2-9D431A601203}" dt="2022-11-23T18:02:17.994" v="3631" actId="20577"/>
          <ac:spMkLst>
            <pc:docMk/>
            <pc:sldMk cId="1082496383" sldId="257"/>
            <ac:spMk id="51" creationId="{3C5FDC5F-A8B3-4F9C-9832-58412BB0F1CE}"/>
          </ac:spMkLst>
        </pc:spChg>
        <pc:spChg chg="mod topLvl">
          <ac:chgData name="Joan Viladomiu Tora" userId="769a1043-f370-4a5b-a0e1-4e76db633912" providerId="ADAL" clId="{B72382DE-DD2E-41EE-B7A2-9D431A601203}" dt="2022-11-23T18:02:17.996" v="3633" actId="947"/>
          <ac:spMkLst>
            <pc:docMk/>
            <pc:sldMk cId="1082496383" sldId="257"/>
            <ac:spMk id="52" creationId="{6A27D7A5-5FAA-4334-BB2C-0C6BA1A83217}"/>
          </ac:spMkLst>
        </pc:spChg>
        <pc:spChg chg="mod topLvl">
          <ac:chgData name="Joan Viladomiu Tora" userId="769a1043-f370-4a5b-a0e1-4e76db633912" providerId="ADAL" clId="{B72382DE-DD2E-41EE-B7A2-9D431A601203}" dt="2022-11-23T18:02:17.997" v="3635" actId="947"/>
          <ac:spMkLst>
            <pc:docMk/>
            <pc:sldMk cId="1082496383" sldId="257"/>
            <ac:spMk id="54" creationId="{BBE1D817-C69E-4C52-9DDD-D9D087BC1653}"/>
          </ac:spMkLst>
        </pc:spChg>
        <pc:spChg chg="add del mod topLvl">
          <ac:chgData name="Joan Viladomiu Tora" userId="769a1043-f370-4a5b-a0e1-4e76db633912" providerId="ADAL" clId="{B72382DE-DD2E-41EE-B7A2-9D431A601203}" dt="2022-11-23T18:02:18" v="3639" actId="20577"/>
          <ac:spMkLst>
            <pc:docMk/>
            <pc:sldMk cId="1082496383" sldId="257"/>
            <ac:spMk id="55" creationId="{664C003F-CAAD-4137-A80B-27517868192B}"/>
          </ac:spMkLst>
        </pc:spChg>
        <pc:spChg chg="mod topLvl">
          <ac:chgData name="Joan Viladomiu Tora" userId="769a1043-f370-4a5b-a0e1-4e76db633912" providerId="ADAL" clId="{B72382DE-DD2E-41EE-B7A2-9D431A601203}" dt="2022-11-23T18:02:18.003" v="3643" actId="20577"/>
          <ac:spMkLst>
            <pc:docMk/>
            <pc:sldMk cId="1082496383" sldId="257"/>
            <ac:spMk id="56" creationId="{89E016CC-A93C-4087-9B4A-D1E51E485CB6}"/>
          </ac:spMkLst>
        </pc:spChg>
        <pc:spChg chg="mod topLvl">
          <ac:chgData name="Joan Viladomiu Tora" userId="769a1043-f370-4a5b-a0e1-4e76db633912" providerId="ADAL" clId="{B72382DE-DD2E-41EE-B7A2-9D431A601203}" dt="2022-11-23T18:02:18.004" v="3645" actId="947"/>
          <ac:spMkLst>
            <pc:docMk/>
            <pc:sldMk cId="1082496383" sldId="257"/>
            <ac:spMk id="57" creationId="{C30D8423-37F3-45C4-AFDA-2A9508C2D331}"/>
          </ac:spMkLst>
        </pc:spChg>
        <pc:spChg chg="mod topLvl">
          <ac:chgData name="Joan Viladomiu Tora" userId="769a1043-f370-4a5b-a0e1-4e76db633912" providerId="ADAL" clId="{B72382DE-DD2E-41EE-B7A2-9D431A601203}" dt="2022-11-23T18:02:18.007" v="3649" actId="20577"/>
          <ac:spMkLst>
            <pc:docMk/>
            <pc:sldMk cId="1082496383" sldId="257"/>
            <ac:spMk id="59" creationId="{594D863E-2A13-4A33-BDE2-A77CB020EF09}"/>
          </ac:spMkLst>
        </pc:spChg>
        <pc:spChg chg="mod topLvl">
          <ac:chgData name="Joan Viladomiu Tora" userId="769a1043-f370-4a5b-a0e1-4e76db633912" providerId="ADAL" clId="{B72382DE-DD2E-41EE-B7A2-9D431A601203}" dt="2022-11-23T18:02:18.015" v="3659" actId="20577"/>
          <ac:spMkLst>
            <pc:docMk/>
            <pc:sldMk cId="1082496383" sldId="257"/>
            <ac:spMk id="61" creationId="{6151E8F0-BA6C-42E3-B6DC-BA26840F3910}"/>
          </ac:spMkLst>
        </pc:spChg>
        <pc:spChg chg="mod topLvl">
          <ac:chgData name="Joan Viladomiu Tora" userId="769a1043-f370-4a5b-a0e1-4e76db633912" providerId="ADAL" clId="{B72382DE-DD2E-41EE-B7A2-9D431A601203}" dt="2022-11-23T18:02:18.016" v="3661" actId="947"/>
          <ac:spMkLst>
            <pc:docMk/>
            <pc:sldMk cId="1082496383" sldId="257"/>
            <ac:spMk id="62" creationId="{FD69E99F-6F6F-4141-A048-3C7002CB7EDF}"/>
          </ac:spMkLst>
        </pc:spChg>
        <pc:spChg chg="mod topLvl">
          <ac:chgData name="Joan Viladomiu Tora" userId="769a1043-f370-4a5b-a0e1-4e76db633912" providerId="ADAL" clId="{B72382DE-DD2E-41EE-B7A2-9D431A601203}" dt="2022-11-23T18:02:18.008" v="3651" actId="947"/>
          <ac:spMkLst>
            <pc:docMk/>
            <pc:sldMk cId="1082496383" sldId="257"/>
            <ac:spMk id="63" creationId="{F333CD3B-AD14-421D-A684-42F79C3C22E5}"/>
          </ac:spMkLst>
        </pc:spChg>
        <pc:spChg chg="add del mod topLvl">
          <ac:chgData name="Joan Viladomiu Tora" userId="769a1043-f370-4a5b-a0e1-4e76db633912" providerId="ADAL" clId="{B72382DE-DD2E-41EE-B7A2-9D431A601203}" dt="2022-11-23T18:02:18.012" v="3655" actId="20577"/>
          <ac:spMkLst>
            <pc:docMk/>
            <pc:sldMk cId="1082496383" sldId="257"/>
            <ac:spMk id="64" creationId="{F2A65A05-7559-4F19-A9E3-4DE249B2C225}"/>
          </ac:spMkLst>
        </pc:spChg>
        <pc:spChg chg="mod">
          <ac:chgData name="Joan Viladomiu Tora" userId="769a1043-f370-4a5b-a0e1-4e76db633912" providerId="ADAL" clId="{B72382DE-DD2E-41EE-B7A2-9D431A601203}" dt="2022-11-23T17:33:26.712" v="1514" actId="165"/>
          <ac:spMkLst>
            <pc:docMk/>
            <pc:sldMk cId="1082496383" sldId="257"/>
            <ac:spMk id="66" creationId="{C27BC59D-023D-4387-8119-18D7F925D6F9}"/>
          </ac:spMkLst>
        </pc:spChg>
        <pc:spChg chg="mod">
          <ac:chgData name="Joan Viladomiu Tora" userId="769a1043-f370-4a5b-a0e1-4e76db633912" providerId="ADAL" clId="{B72382DE-DD2E-41EE-B7A2-9D431A601203}" dt="2022-11-23T17:33:26.712" v="1514" actId="165"/>
          <ac:spMkLst>
            <pc:docMk/>
            <pc:sldMk cId="1082496383" sldId="257"/>
            <ac:spMk id="68" creationId="{7DA107DE-6A80-4DEF-8E8B-81F478C8FD15}"/>
          </ac:spMkLst>
        </pc:spChg>
        <pc:spChg chg="mod">
          <ac:chgData name="Joan Viladomiu Tora" userId="769a1043-f370-4a5b-a0e1-4e76db633912" providerId="ADAL" clId="{B72382DE-DD2E-41EE-B7A2-9D431A601203}" dt="2022-11-23T17:33:26.712" v="1514" actId="165"/>
          <ac:spMkLst>
            <pc:docMk/>
            <pc:sldMk cId="1082496383" sldId="257"/>
            <ac:spMk id="69" creationId="{07AE4D68-8691-4379-A1B9-044E9B062C58}"/>
          </ac:spMkLst>
        </pc:spChg>
        <pc:spChg chg="mod">
          <ac:chgData name="Joan Viladomiu Tora" userId="769a1043-f370-4a5b-a0e1-4e76db633912" providerId="ADAL" clId="{B72382DE-DD2E-41EE-B7A2-9D431A601203}" dt="2022-11-23T17:33:26.712" v="1514" actId="165"/>
          <ac:spMkLst>
            <pc:docMk/>
            <pc:sldMk cId="1082496383" sldId="257"/>
            <ac:spMk id="70" creationId="{B2B75729-C550-449B-9D9B-76DD364F11CF}"/>
          </ac:spMkLst>
        </pc:spChg>
        <pc:spChg chg="mod">
          <ac:chgData name="Joan Viladomiu Tora" userId="769a1043-f370-4a5b-a0e1-4e76db633912" providerId="ADAL" clId="{B72382DE-DD2E-41EE-B7A2-9D431A601203}" dt="2022-11-23T17:33:26.712" v="1514" actId="165"/>
          <ac:spMkLst>
            <pc:docMk/>
            <pc:sldMk cId="1082496383" sldId="257"/>
            <ac:spMk id="71" creationId="{AB22AC88-E508-45B3-B583-669A26480A7C}"/>
          </ac:spMkLst>
        </pc:spChg>
        <pc:spChg chg="mod">
          <ac:chgData name="Joan Viladomiu Tora" userId="769a1043-f370-4a5b-a0e1-4e76db633912" providerId="ADAL" clId="{B72382DE-DD2E-41EE-B7A2-9D431A601203}" dt="2022-11-23T17:33:26.712" v="1514" actId="165"/>
          <ac:spMkLst>
            <pc:docMk/>
            <pc:sldMk cId="1082496383" sldId="257"/>
            <ac:spMk id="73" creationId="{E61460A3-C120-4391-8650-411809BA6FC6}"/>
          </ac:spMkLst>
        </pc:spChg>
        <pc:spChg chg="mod">
          <ac:chgData name="Joan Viladomiu Tora" userId="769a1043-f370-4a5b-a0e1-4e76db633912" providerId="ADAL" clId="{B72382DE-DD2E-41EE-B7A2-9D431A601203}" dt="2022-11-23T17:33:26.712" v="1514" actId="165"/>
          <ac:spMkLst>
            <pc:docMk/>
            <pc:sldMk cId="1082496383" sldId="257"/>
            <ac:spMk id="75" creationId="{DF00D893-29E2-47FD-A554-C10704E1E239}"/>
          </ac:spMkLst>
        </pc:spChg>
        <pc:spChg chg="mod">
          <ac:chgData name="Joan Viladomiu Tora" userId="769a1043-f370-4a5b-a0e1-4e76db633912" providerId="ADAL" clId="{B72382DE-DD2E-41EE-B7A2-9D431A601203}" dt="2022-11-23T17:33:26.712" v="1514" actId="165"/>
          <ac:spMkLst>
            <pc:docMk/>
            <pc:sldMk cId="1082496383" sldId="257"/>
            <ac:spMk id="76" creationId="{354B02B4-6D14-4092-BD03-4FC38866FB9B}"/>
          </ac:spMkLst>
        </pc:spChg>
        <pc:spChg chg="mod">
          <ac:chgData name="Joan Viladomiu Tora" userId="769a1043-f370-4a5b-a0e1-4e76db633912" providerId="ADAL" clId="{B72382DE-DD2E-41EE-B7A2-9D431A601203}" dt="2022-11-23T17:33:26.712" v="1514" actId="165"/>
          <ac:spMkLst>
            <pc:docMk/>
            <pc:sldMk cId="1082496383" sldId="257"/>
            <ac:spMk id="77" creationId="{A529AA8B-41F0-4224-8E98-37F5EE3988C0}"/>
          </ac:spMkLst>
        </pc:spChg>
        <pc:spChg chg="mod">
          <ac:chgData name="Joan Viladomiu Tora" userId="769a1043-f370-4a5b-a0e1-4e76db633912" providerId="ADAL" clId="{B72382DE-DD2E-41EE-B7A2-9D431A601203}" dt="2022-11-23T17:33:26.712" v="1514" actId="165"/>
          <ac:spMkLst>
            <pc:docMk/>
            <pc:sldMk cId="1082496383" sldId="257"/>
            <ac:spMk id="78" creationId="{21192AA8-6AA5-46E1-A3EE-2776BFF3DB4C}"/>
          </ac:spMkLst>
        </pc:spChg>
        <pc:spChg chg="mod topLvl">
          <ac:chgData name="Joan Viladomiu Tora" userId="769a1043-f370-4a5b-a0e1-4e76db633912" providerId="ADAL" clId="{B72382DE-DD2E-41EE-B7A2-9D431A601203}" dt="2022-11-23T18:02:18.018" v="3663" actId="947"/>
          <ac:spMkLst>
            <pc:docMk/>
            <pc:sldMk cId="1082496383" sldId="257"/>
            <ac:spMk id="80" creationId="{4A168968-B450-4CE1-A7FC-68003CB7D02B}"/>
          </ac:spMkLst>
        </pc:spChg>
        <pc:spChg chg="add del mod topLvl">
          <ac:chgData name="Joan Viladomiu Tora" userId="769a1043-f370-4a5b-a0e1-4e76db633912" providerId="ADAL" clId="{B72382DE-DD2E-41EE-B7A2-9D431A601203}" dt="2022-11-23T18:02:18.020" v="3667" actId="20577"/>
          <ac:spMkLst>
            <pc:docMk/>
            <pc:sldMk cId="1082496383" sldId="257"/>
            <ac:spMk id="81" creationId="{10041645-928F-49CF-9F98-2279D3A9DBDE}"/>
          </ac:spMkLst>
        </pc:spChg>
        <pc:spChg chg="mod topLvl">
          <ac:chgData name="Joan Viladomiu Tora" userId="769a1043-f370-4a5b-a0e1-4e76db633912" providerId="ADAL" clId="{B72382DE-DD2E-41EE-B7A2-9D431A601203}" dt="2022-11-23T18:02:18.023" v="3671" actId="20577"/>
          <ac:spMkLst>
            <pc:docMk/>
            <pc:sldMk cId="1082496383" sldId="257"/>
            <ac:spMk id="82" creationId="{9971915C-806A-4155-8E1F-B23FEE56C74D}"/>
          </ac:spMkLst>
        </pc:spChg>
        <pc:spChg chg="mod topLvl">
          <ac:chgData name="Joan Viladomiu Tora" userId="769a1043-f370-4a5b-a0e1-4e76db633912" providerId="ADAL" clId="{B72382DE-DD2E-41EE-B7A2-9D431A601203}" dt="2022-11-23T18:02:18.024" v="3673" actId="947"/>
          <ac:spMkLst>
            <pc:docMk/>
            <pc:sldMk cId="1082496383" sldId="257"/>
            <ac:spMk id="83" creationId="{BFCFE4FF-1ADC-4026-AD13-23A3099E4FEC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92" creationId="{A7E841D2-98E2-4E05-85FD-FF33E69F1FD5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93" creationId="{23BBC79A-F064-4BFD-92B4-E30B9D6B0EB2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94" creationId="{D16CFC2A-1E29-4D53-AEC7-DB0E3002E8DF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95" creationId="{6591403E-61A3-4D00-B6E3-26B27B9EBB1D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96" creationId="{C88DF252-D1B7-43B2-92FB-96114697ED4C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98" creationId="{B9DD9DA4-87B8-4E9E-B2E4-93806C382F8C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99" creationId="{B41CA222-31E5-4A73-9424-F23C75E912C2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00" creationId="{6719CC6B-7857-48B3-974C-ABCC532E0ABF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01" creationId="{0FF615A3-725D-4CD8-B975-AF6F48546871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02" creationId="{EAB811F3-48E6-44D8-BC7B-61CC69C04F9B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04" creationId="{B5F0C170-6248-49B0-BA41-333D40E0282D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05" creationId="{ABDAE01C-DA60-4E25-8893-8041693AFA3E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06" creationId="{B241D51F-4B73-4DE5-976D-55CB14D10AC2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07" creationId="{02BE8CC4-0B6C-4891-B47B-180C03F3B56A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08" creationId="{70F6C955-BDCE-4E24-BFE4-7FCC862FF5C6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10" creationId="{71E96917-A71B-412E-946E-E1D6110D6789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11" creationId="{984E209E-0784-4069-9D66-067C670D5218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12" creationId="{76DCD4D8-CE89-4DA9-9DC3-6AC82E403583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13" creationId="{4AA1C629-2BCC-4083-8DFF-5CDA9AD58DE3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14" creationId="{324037C1-5962-4B4A-A4CA-0652CF6210A2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15" creationId="{65DF3F0F-13C6-479D-9879-98ECCFDFF958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16" creationId="{8A996BBE-595C-4B54-937E-0A13CFED1C31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17" creationId="{E215D58F-8058-4622-87CA-6E14669D99ED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18" creationId="{4B35A546-07B6-4617-B3A9-CD7B3F535963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19" creationId="{D3FD17F8-936E-4B24-835E-5A951EAB4CB2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20" creationId="{CEB842B2-F8E5-40B0-A7D0-204754C75D19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21" creationId="{F571002D-C694-42AD-9425-48F66BE6CC5B}"/>
          </ac:spMkLst>
        </pc:spChg>
        <pc:spChg chg="add mod">
          <ac:chgData name="Joan Viladomiu Tora" userId="769a1043-f370-4a5b-a0e1-4e76db633912" providerId="ADAL" clId="{B72382DE-DD2E-41EE-B7A2-9D431A601203}" dt="2022-11-23T18:02:18.027" v="3677" actId="20577"/>
          <ac:spMkLst>
            <pc:docMk/>
            <pc:sldMk cId="1082496383" sldId="257"/>
            <ac:spMk id="122" creationId="{CDFF38A2-7742-46F0-A952-665341035F3E}"/>
          </ac:spMkLst>
        </pc:spChg>
        <pc:spChg chg="add mod">
          <ac:chgData name="Joan Viladomiu Tora" userId="769a1043-f370-4a5b-a0e1-4e76db633912" providerId="ADAL" clId="{B72382DE-DD2E-41EE-B7A2-9D431A601203}" dt="2022-11-23T18:02:18.031" v="3681" actId="20577"/>
          <ac:spMkLst>
            <pc:docMk/>
            <pc:sldMk cId="1082496383" sldId="257"/>
            <ac:spMk id="123" creationId="{94169129-8B2A-4E02-9790-62BD41096DE5}"/>
          </ac:spMkLst>
        </pc:spChg>
        <pc:spChg chg="add mod">
          <ac:chgData name="Joan Viladomiu Tora" userId="769a1043-f370-4a5b-a0e1-4e76db633912" providerId="ADAL" clId="{B72382DE-DD2E-41EE-B7A2-9D431A601203}" dt="2022-11-23T18:02:18.034" v="3685" actId="20577"/>
          <ac:spMkLst>
            <pc:docMk/>
            <pc:sldMk cId="1082496383" sldId="257"/>
            <ac:spMk id="125" creationId="{C7CEDF86-3601-4434-A0F9-1396027ED46D}"/>
          </ac:spMkLst>
        </pc:spChg>
        <pc:spChg chg="add del mod modVis">
          <ac:chgData name="Joan Viladomiu Tora" userId="769a1043-f370-4a5b-a0e1-4e76db633912" providerId="ADAL" clId="{B72382DE-DD2E-41EE-B7A2-9D431A601203}" dt="2022-11-23T17:42:11.083" v="1651"/>
          <ac:spMkLst>
            <pc:docMk/>
            <pc:sldMk cId="1082496383" sldId="257"/>
            <ac:spMk id="126" creationId="{CD86E70D-4BDB-4D07-9908-6A2016982847}"/>
          </ac:spMkLst>
        </pc:spChg>
        <pc:spChg chg="add del mod modVis">
          <ac:chgData name="Joan Viladomiu Tora" userId="769a1043-f370-4a5b-a0e1-4e76db633912" providerId="ADAL" clId="{B72382DE-DD2E-41EE-B7A2-9D431A601203}" dt="2022-11-23T17:42:12.863" v="1694"/>
          <ac:spMkLst>
            <pc:docMk/>
            <pc:sldMk cId="1082496383" sldId="257"/>
            <ac:spMk id="127" creationId="{3502C182-58BD-4B69-A780-7F5E08BD9F48}"/>
          </ac:spMkLst>
        </pc:spChg>
        <pc:spChg chg="del mod modVis">
          <ac:chgData name="Joan Viladomiu Tora" userId="769a1043-f370-4a5b-a0e1-4e76db633912" providerId="ADAL" clId="{B72382DE-DD2E-41EE-B7A2-9D431A601203}" dt="2022-11-23T17:43:23.932" v="1845" actId="478"/>
          <ac:spMkLst>
            <pc:docMk/>
            <pc:sldMk cId="1082496383" sldId="257"/>
            <ac:spMk id="128" creationId="{BB48B77F-6C2B-41D7-B159-21C352473D00}"/>
          </ac:spMkLst>
        </pc:spChg>
        <pc:spChg chg="add del mod modVis">
          <ac:chgData name="Joan Viladomiu Tora" userId="769a1043-f370-4a5b-a0e1-4e76db633912" providerId="ADAL" clId="{B72382DE-DD2E-41EE-B7A2-9D431A601203}" dt="2022-11-23T17:43:30.694" v="3080"/>
          <ac:spMkLst>
            <pc:docMk/>
            <pc:sldMk cId="1082496383" sldId="257"/>
            <ac:spMk id="129" creationId="{E923466F-6119-4383-8C56-CFBCAEE7785A}"/>
          </ac:spMkLst>
        </pc:spChg>
        <pc:spChg chg="add del mod">
          <ac:chgData name="Joan Viladomiu Tora" userId="769a1043-f370-4a5b-a0e1-4e76db633912" providerId="ADAL" clId="{B72382DE-DD2E-41EE-B7A2-9D431A601203}" dt="2022-11-23T17:46:01.208" v="3119" actId="478"/>
          <ac:spMkLst>
            <pc:docMk/>
            <pc:sldMk cId="1082496383" sldId="257"/>
            <ac:spMk id="130" creationId="{5F2C0AB1-EDDC-4C3A-BDEC-FA2DA60070DD}"/>
          </ac:spMkLst>
        </pc:spChg>
        <pc:spChg chg="del mod modVis">
          <ac:chgData name="Joan Viladomiu Tora" userId="769a1043-f370-4a5b-a0e1-4e76db633912" providerId="ADAL" clId="{B72382DE-DD2E-41EE-B7A2-9D431A601203}" dt="2022-11-23T18:02:20.522" v="4504" actId="478"/>
          <ac:spMkLst>
            <pc:docMk/>
            <pc:sldMk cId="1082496383" sldId="257"/>
            <ac:spMk id="131" creationId="{AB8697F8-2180-4765-9D0E-917519B498FC}"/>
          </ac:spMkLst>
        </pc:spChg>
        <pc:spChg chg="del">
          <ac:chgData name="Joan Viladomiu Tora" userId="769a1043-f370-4a5b-a0e1-4e76db633912" providerId="ADAL" clId="{B72382DE-DD2E-41EE-B7A2-9D431A601203}" dt="2022-11-24T15:32:42.967" v="15132" actId="478"/>
          <ac:spMkLst>
            <pc:docMk/>
            <pc:sldMk cId="1082496383" sldId="257"/>
            <ac:spMk id="132" creationId="{B42F69FF-CDAD-4306-BA75-7550A8003DBC}"/>
          </ac:spMkLst>
        </pc:spChg>
        <pc:grpChg chg="add del mod">
          <ac:chgData name="Joan Viladomiu Tora" userId="769a1043-f370-4a5b-a0e1-4e76db633912" providerId="ADAL" clId="{B72382DE-DD2E-41EE-B7A2-9D431A601203}" dt="2022-11-23T17:31:34.123" v="1487"/>
          <ac:grpSpMkLst>
            <pc:docMk/>
            <pc:sldMk cId="1082496383" sldId="257"/>
            <ac:grpSpMk id="12" creationId="{423A91F2-288B-493C-9484-2381E6ED73AF}"/>
          </ac:grpSpMkLst>
        </pc:grpChg>
        <pc:grpChg chg="add del mod">
          <ac:chgData name="Joan Viladomiu Tora" userId="769a1043-f370-4a5b-a0e1-4e76db633912" providerId="ADAL" clId="{B72382DE-DD2E-41EE-B7A2-9D431A601203}" dt="2022-11-23T17:31:34.123" v="1487"/>
          <ac:grpSpMkLst>
            <pc:docMk/>
            <pc:sldMk cId="1082496383" sldId="257"/>
            <ac:grpSpMk id="17" creationId="{5E21CF41-5920-429E-9914-2E1C14C942A9}"/>
          </ac:grpSpMkLst>
        </pc:grpChg>
        <pc:grpChg chg="add del mod">
          <ac:chgData name="Joan Viladomiu Tora" userId="769a1043-f370-4a5b-a0e1-4e76db633912" providerId="ADAL" clId="{B72382DE-DD2E-41EE-B7A2-9D431A601203}" dt="2022-11-23T17:31:34.123" v="1487"/>
          <ac:grpSpMkLst>
            <pc:docMk/>
            <pc:sldMk cId="1082496383" sldId="257"/>
            <ac:grpSpMk id="22" creationId="{9F575D1D-9B03-48A6-902D-6F38AFF82938}"/>
          </ac:grpSpMkLst>
        </pc:grpChg>
        <pc:grpChg chg="mod">
          <ac:chgData name="Joan Viladomiu Tora" userId="769a1043-f370-4a5b-a0e1-4e76db633912" providerId="ADAL" clId="{B72382DE-DD2E-41EE-B7A2-9D431A601203}" dt="2022-11-23T17:31:30.915" v="1484"/>
          <ac:grpSpMkLst>
            <pc:docMk/>
            <pc:sldMk cId="1082496383" sldId="257"/>
            <ac:grpSpMk id="24" creationId="{06128572-A1E3-4DF8-9959-ECED8F20228D}"/>
          </ac:grpSpMkLst>
        </pc:grpChg>
        <pc:grpChg chg="add del mod">
          <ac:chgData name="Joan Viladomiu Tora" userId="769a1043-f370-4a5b-a0e1-4e76db633912" providerId="ADAL" clId="{B72382DE-DD2E-41EE-B7A2-9D431A601203}" dt="2022-11-23T22:58:28.570" v="8510" actId="165"/>
          <ac:grpSpMkLst>
            <pc:docMk/>
            <pc:sldMk cId="1082496383" sldId="257"/>
            <ac:grpSpMk id="29" creationId="{132B81F9-233C-462E-9F24-33861723C326}"/>
          </ac:grpSpMkLst>
        </pc:grpChg>
        <pc:grpChg chg="add del mod">
          <ac:chgData name="Joan Viladomiu Tora" userId="769a1043-f370-4a5b-a0e1-4e76db633912" providerId="ADAL" clId="{B72382DE-DD2E-41EE-B7A2-9D431A601203}" dt="2022-11-23T17:31:34.123" v="1487"/>
          <ac:grpSpMkLst>
            <pc:docMk/>
            <pc:sldMk cId="1082496383" sldId="257"/>
            <ac:grpSpMk id="29" creationId="{E194437A-BEA4-4A3B-B652-D7288FD5F11A}"/>
          </ac:grpSpMkLst>
        </pc:grpChg>
        <pc:grpChg chg="mod">
          <ac:chgData name="Joan Viladomiu Tora" userId="769a1043-f370-4a5b-a0e1-4e76db633912" providerId="ADAL" clId="{B72382DE-DD2E-41EE-B7A2-9D431A601203}" dt="2022-11-23T17:31:30.915" v="1484"/>
          <ac:grpSpMkLst>
            <pc:docMk/>
            <pc:sldMk cId="1082496383" sldId="257"/>
            <ac:grpSpMk id="31" creationId="{D3B23946-5D1F-4D07-A2FA-5B2ECC1DD9AE}"/>
          </ac:grpSpMkLst>
        </pc:grpChg>
        <pc:grpChg chg="add del mod">
          <ac:chgData name="Joan Viladomiu Tora" userId="769a1043-f370-4a5b-a0e1-4e76db633912" providerId="ADAL" clId="{B72382DE-DD2E-41EE-B7A2-9D431A601203}" dt="2022-11-23T17:31:34.123" v="1487"/>
          <ac:grpSpMkLst>
            <pc:docMk/>
            <pc:sldMk cId="1082496383" sldId="257"/>
            <ac:grpSpMk id="36" creationId="{BF2B59C1-7BD4-4037-89C3-7B895F28D825}"/>
          </ac:grpSpMkLst>
        </pc:grpChg>
        <pc:grpChg chg="mod">
          <ac:chgData name="Joan Viladomiu Tora" userId="769a1043-f370-4a5b-a0e1-4e76db633912" providerId="ADAL" clId="{B72382DE-DD2E-41EE-B7A2-9D431A601203}" dt="2022-11-23T17:31:30.915" v="1484"/>
          <ac:grpSpMkLst>
            <pc:docMk/>
            <pc:sldMk cId="1082496383" sldId="257"/>
            <ac:grpSpMk id="38" creationId="{81E7FE9D-0BBE-40D2-B0D1-4695CAF09673}"/>
          </ac:grpSpMkLst>
        </pc:grpChg>
        <pc:grpChg chg="add del mod">
          <ac:chgData name="Joan Viladomiu Tora" userId="769a1043-f370-4a5b-a0e1-4e76db633912" providerId="ADAL" clId="{B72382DE-DD2E-41EE-B7A2-9D431A601203}" dt="2022-11-23T17:31:34.123" v="1487"/>
          <ac:grpSpMkLst>
            <pc:docMk/>
            <pc:sldMk cId="1082496383" sldId="257"/>
            <ac:grpSpMk id="43" creationId="{E5ACBD22-C8E7-4F66-B358-0836476BC638}"/>
          </ac:grpSpMkLst>
        </pc:grpChg>
        <pc:grpChg chg="add del mod topLvl">
          <ac:chgData name="Joan Viladomiu Tora" userId="769a1043-f370-4a5b-a0e1-4e76db633912" providerId="ADAL" clId="{B72382DE-DD2E-41EE-B7A2-9D431A601203}" dt="2022-11-23T17:37:16.709" v="1536" actId="165"/>
          <ac:grpSpMkLst>
            <pc:docMk/>
            <pc:sldMk cId="1082496383" sldId="257"/>
            <ac:grpSpMk id="48" creationId="{9D4331B0-E8AE-4B9A-B914-656184543A78}"/>
          </ac:grpSpMkLst>
        </pc:grpChg>
        <pc:grpChg chg="add del mod topLvl">
          <ac:chgData name="Joan Viladomiu Tora" userId="769a1043-f370-4a5b-a0e1-4e76db633912" providerId="ADAL" clId="{B72382DE-DD2E-41EE-B7A2-9D431A601203}" dt="2022-11-23T17:37:16.709" v="1536" actId="165"/>
          <ac:grpSpMkLst>
            <pc:docMk/>
            <pc:sldMk cId="1082496383" sldId="257"/>
            <ac:grpSpMk id="53" creationId="{A69F2F85-729E-4AEE-A359-0DF54DC1ABD0}"/>
          </ac:grpSpMkLst>
        </pc:grpChg>
        <pc:grpChg chg="add del mod topLvl">
          <ac:chgData name="Joan Viladomiu Tora" userId="769a1043-f370-4a5b-a0e1-4e76db633912" providerId="ADAL" clId="{B72382DE-DD2E-41EE-B7A2-9D431A601203}" dt="2022-11-23T17:37:16.709" v="1536" actId="165"/>
          <ac:grpSpMkLst>
            <pc:docMk/>
            <pc:sldMk cId="1082496383" sldId="257"/>
            <ac:grpSpMk id="58" creationId="{1082A49A-5E3C-49AA-BC55-70ABEFAFBEA9}"/>
          </ac:grpSpMkLst>
        </pc:grpChg>
        <pc:grpChg chg="del mod topLvl">
          <ac:chgData name="Joan Viladomiu Tora" userId="769a1043-f370-4a5b-a0e1-4e76db633912" providerId="ADAL" clId="{B72382DE-DD2E-41EE-B7A2-9D431A601203}" dt="2022-11-23T17:37:29.029" v="1537" actId="165"/>
          <ac:grpSpMkLst>
            <pc:docMk/>
            <pc:sldMk cId="1082496383" sldId="257"/>
            <ac:grpSpMk id="60" creationId="{85696FE2-A76D-4031-9DD4-523CD7F37D16}"/>
          </ac:grpSpMkLst>
        </pc:grpChg>
        <pc:grpChg chg="add del mod topLvl">
          <ac:chgData name="Joan Viladomiu Tora" userId="769a1043-f370-4a5b-a0e1-4e76db633912" providerId="ADAL" clId="{B72382DE-DD2E-41EE-B7A2-9D431A601203}" dt="2022-11-23T17:33:50.185" v="1515" actId="478"/>
          <ac:grpSpMkLst>
            <pc:docMk/>
            <pc:sldMk cId="1082496383" sldId="257"/>
            <ac:grpSpMk id="65" creationId="{F293B438-5F4D-49DC-918B-CDA15D427737}"/>
          </ac:grpSpMkLst>
        </pc:grpChg>
        <pc:grpChg chg="mod">
          <ac:chgData name="Joan Viladomiu Tora" userId="769a1043-f370-4a5b-a0e1-4e76db633912" providerId="ADAL" clId="{B72382DE-DD2E-41EE-B7A2-9D431A601203}" dt="2022-11-23T17:33:26.712" v="1514" actId="165"/>
          <ac:grpSpMkLst>
            <pc:docMk/>
            <pc:sldMk cId="1082496383" sldId="257"/>
            <ac:grpSpMk id="67" creationId="{9FE551E9-8258-4149-B381-F846926C36B3}"/>
          </ac:grpSpMkLst>
        </pc:grpChg>
        <pc:grpChg chg="add del mod topLvl">
          <ac:chgData name="Joan Viladomiu Tora" userId="769a1043-f370-4a5b-a0e1-4e76db633912" providerId="ADAL" clId="{B72382DE-DD2E-41EE-B7A2-9D431A601203}" dt="2022-11-23T17:33:50.185" v="1515" actId="478"/>
          <ac:grpSpMkLst>
            <pc:docMk/>
            <pc:sldMk cId="1082496383" sldId="257"/>
            <ac:grpSpMk id="72" creationId="{9AA091EE-CF60-44BF-A63E-AB88BD8D0BFB}"/>
          </ac:grpSpMkLst>
        </pc:grpChg>
        <pc:grpChg chg="mod">
          <ac:chgData name="Joan Viladomiu Tora" userId="769a1043-f370-4a5b-a0e1-4e76db633912" providerId="ADAL" clId="{B72382DE-DD2E-41EE-B7A2-9D431A601203}" dt="2022-11-23T17:33:26.712" v="1514" actId="165"/>
          <ac:grpSpMkLst>
            <pc:docMk/>
            <pc:sldMk cId="1082496383" sldId="257"/>
            <ac:grpSpMk id="74" creationId="{AD1BE886-D786-455D-95C0-EE6A11B8043B}"/>
          </ac:grpSpMkLst>
        </pc:grpChg>
        <pc:grpChg chg="add del mod topLvl">
          <ac:chgData name="Joan Viladomiu Tora" userId="769a1043-f370-4a5b-a0e1-4e76db633912" providerId="ADAL" clId="{B72382DE-DD2E-41EE-B7A2-9D431A601203}" dt="2022-11-23T17:37:16.709" v="1536" actId="165"/>
          <ac:grpSpMkLst>
            <pc:docMk/>
            <pc:sldMk cId="1082496383" sldId="257"/>
            <ac:grpSpMk id="79" creationId="{48EE70C4-4ADD-4E96-BE68-1D76290C3545}"/>
          </ac:grpSpMkLst>
        </pc:grpChg>
        <pc:grpChg chg="add del mod">
          <ac:chgData name="Joan Viladomiu Tora" userId="769a1043-f370-4a5b-a0e1-4e76db633912" providerId="ADAL" clId="{B72382DE-DD2E-41EE-B7A2-9D431A601203}" dt="2022-11-23T17:33:26.712" v="1514" actId="165"/>
          <ac:grpSpMkLst>
            <pc:docMk/>
            <pc:sldMk cId="1082496383" sldId="257"/>
            <ac:grpSpMk id="84" creationId="{D88116F6-54B6-4F3A-9489-8E5F9B463BF9}"/>
          </ac:grpSpMkLst>
        </pc:grpChg>
        <pc:grpChg chg="add mod">
          <ac:chgData name="Joan Viladomiu Tora" userId="769a1043-f370-4a5b-a0e1-4e76db633912" providerId="ADAL" clId="{B72382DE-DD2E-41EE-B7A2-9D431A601203}" dt="2022-11-23T17:31:42.433" v="1492" actId="571"/>
          <ac:grpSpMkLst>
            <pc:docMk/>
            <pc:sldMk cId="1082496383" sldId="257"/>
            <ac:grpSpMk id="85" creationId="{AF44776A-8715-4A2C-A2CC-3AB2D9C8956B}"/>
          </ac:grpSpMkLst>
        </pc:grpChg>
        <pc:grpChg chg="mod">
          <ac:chgData name="Joan Viladomiu Tora" userId="769a1043-f370-4a5b-a0e1-4e76db633912" providerId="ADAL" clId="{B72382DE-DD2E-41EE-B7A2-9D431A601203}" dt="2022-11-23T17:31:42.433" v="1492" actId="571"/>
          <ac:grpSpMkLst>
            <pc:docMk/>
            <pc:sldMk cId="1082496383" sldId="257"/>
            <ac:grpSpMk id="86" creationId="{91F58FD6-E67F-4EA5-9DF4-49D592E675D5}"/>
          </ac:grpSpMkLst>
        </pc:grpChg>
        <pc:grpChg chg="mod">
          <ac:chgData name="Joan Viladomiu Tora" userId="769a1043-f370-4a5b-a0e1-4e76db633912" providerId="ADAL" clId="{B72382DE-DD2E-41EE-B7A2-9D431A601203}" dt="2022-11-23T17:31:42.433" v="1492" actId="571"/>
          <ac:grpSpMkLst>
            <pc:docMk/>
            <pc:sldMk cId="1082496383" sldId="257"/>
            <ac:grpSpMk id="87" creationId="{4B787F80-4551-464B-9FD6-8B1D8E05A321}"/>
          </ac:grpSpMkLst>
        </pc:grpChg>
        <pc:grpChg chg="mod">
          <ac:chgData name="Joan Viladomiu Tora" userId="769a1043-f370-4a5b-a0e1-4e76db633912" providerId="ADAL" clId="{B72382DE-DD2E-41EE-B7A2-9D431A601203}" dt="2022-11-23T17:31:42.433" v="1492" actId="571"/>
          <ac:grpSpMkLst>
            <pc:docMk/>
            <pc:sldMk cId="1082496383" sldId="257"/>
            <ac:grpSpMk id="88" creationId="{3D5941E7-0154-4DFF-B5D5-F7169AC2FCB9}"/>
          </ac:grpSpMkLst>
        </pc:grpChg>
        <pc:grpChg chg="mod">
          <ac:chgData name="Joan Viladomiu Tora" userId="769a1043-f370-4a5b-a0e1-4e76db633912" providerId="ADAL" clId="{B72382DE-DD2E-41EE-B7A2-9D431A601203}" dt="2022-11-23T17:31:42.433" v="1492" actId="571"/>
          <ac:grpSpMkLst>
            <pc:docMk/>
            <pc:sldMk cId="1082496383" sldId="257"/>
            <ac:grpSpMk id="89" creationId="{8C2B9F4F-85F0-487D-88DA-D8D324DC181A}"/>
          </ac:grpSpMkLst>
        </pc:grpChg>
        <pc:grpChg chg="mod">
          <ac:chgData name="Joan Viladomiu Tora" userId="769a1043-f370-4a5b-a0e1-4e76db633912" providerId="ADAL" clId="{B72382DE-DD2E-41EE-B7A2-9D431A601203}" dt="2022-11-23T17:31:42.433" v="1492" actId="571"/>
          <ac:grpSpMkLst>
            <pc:docMk/>
            <pc:sldMk cId="1082496383" sldId="257"/>
            <ac:grpSpMk id="90" creationId="{178189B1-E972-4602-A834-ACB4D33BEF45}"/>
          </ac:grpSpMkLst>
        </pc:grpChg>
        <pc:grpChg chg="mod">
          <ac:chgData name="Joan Viladomiu Tora" userId="769a1043-f370-4a5b-a0e1-4e76db633912" providerId="ADAL" clId="{B72382DE-DD2E-41EE-B7A2-9D431A601203}" dt="2022-11-23T17:31:42.433" v="1492" actId="571"/>
          <ac:grpSpMkLst>
            <pc:docMk/>
            <pc:sldMk cId="1082496383" sldId="257"/>
            <ac:grpSpMk id="91" creationId="{97D52B05-241F-49D1-BF80-BB6362AF436F}"/>
          </ac:grpSpMkLst>
        </pc:grpChg>
        <pc:grpChg chg="mod">
          <ac:chgData name="Joan Viladomiu Tora" userId="769a1043-f370-4a5b-a0e1-4e76db633912" providerId="ADAL" clId="{B72382DE-DD2E-41EE-B7A2-9D431A601203}" dt="2022-11-23T17:31:42.433" v="1492" actId="571"/>
          <ac:grpSpMkLst>
            <pc:docMk/>
            <pc:sldMk cId="1082496383" sldId="257"/>
            <ac:grpSpMk id="97" creationId="{B182A705-328F-45DF-990D-4AB33D537C44}"/>
          </ac:grpSpMkLst>
        </pc:grpChg>
        <pc:grpChg chg="mod">
          <ac:chgData name="Joan Viladomiu Tora" userId="769a1043-f370-4a5b-a0e1-4e76db633912" providerId="ADAL" clId="{B72382DE-DD2E-41EE-B7A2-9D431A601203}" dt="2022-11-23T17:31:42.433" v="1492" actId="571"/>
          <ac:grpSpMkLst>
            <pc:docMk/>
            <pc:sldMk cId="1082496383" sldId="257"/>
            <ac:grpSpMk id="103" creationId="{0B7119B9-2308-409D-9091-053003F8998A}"/>
          </ac:grpSpMkLst>
        </pc:grpChg>
        <pc:grpChg chg="mod">
          <ac:chgData name="Joan Viladomiu Tora" userId="769a1043-f370-4a5b-a0e1-4e76db633912" providerId="ADAL" clId="{B72382DE-DD2E-41EE-B7A2-9D431A601203}" dt="2022-11-23T17:31:42.433" v="1492" actId="571"/>
          <ac:grpSpMkLst>
            <pc:docMk/>
            <pc:sldMk cId="1082496383" sldId="257"/>
            <ac:grpSpMk id="109" creationId="{4B0DBAD0-D840-49C2-9AA2-9191AB3AB94E}"/>
          </ac:grpSpMkLst>
        </pc:grpChg>
        <pc:grpChg chg="add del mod">
          <ac:chgData name="Joan Viladomiu Tora" userId="769a1043-f370-4a5b-a0e1-4e76db633912" providerId="ADAL" clId="{B72382DE-DD2E-41EE-B7A2-9D431A601203}" dt="2022-11-23T17:34:11.483" v="1519" actId="165"/>
          <ac:grpSpMkLst>
            <pc:docMk/>
            <pc:sldMk cId="1082496383" sldId="257"/>
            <ac:grpSpMk id="124" creationId="{5F0EA4EF-807E-4D04-9E37-3285802DD0FD}"/>
          </ac:grpSpMkLst>
        </pc:grpChg>
        <pc:graphicFrameChg chg="mod">
          <ac:chgData name="Joan Viladomiu Tora" userId="769a1043-f370-4a5b-a0e1-4e76db633912" providerId="ADAL" clId="{B72382DE-DD2E-41EE-B7A2-9D431A601203}" dt="2022-11-23T18:02:20.528" v="4505" actId="1076"/>
          <ac:graphicFrameMkLst>
            <pc:docMk/>
            <pc:sldMk cId="1082496383" sldId="257"/>
            <ac:graphicFrameMk id="5" creationId="{031B39ED-941B-40A2-BB3C-B76D12F43DA7}"/>
          </ac:graphicFrameMkLst>
        </pc:graphicFrameChg>
        <pc:picChg chg="add del mod">
          <ac:chgData name="Joan Viladomiu Tora" userId="769a1043-f370-4a5b-a0e1-4e76db633912" providerId="ADAL" clId="{B72382DE-DD2E-41EE-B7A2-9D431A601203}" dt="2022-11-23T22:30:03.187" v="7986" actId="478"/>
          <ac:picMkLst>
            <pc:docMk/>
            <pc:sldMk cId="1082496383" sldId="257"/>
            <ac:picMk id="3" creationId="{7FA2FB2E-EDEA-4329-9DBF-8A80A59817EA}"/>
          </ac:picMkLst>
        </pc:picChg>
        <pc:picChg chg="mod topLvl">
          <ac:chgData name="Joan Viladomiu Tora" userId="769a1043-f370-4a5b-a0e1-4e76db633912" providerId="ADAL" clId="{B72382DE-DD2E-41EE-B7A2-9D431A601203}" dt="2022-11-23T22:58:28.570" v="8510" actId="165"/>
          <ac:picMkLst>
            <pc:docMk/>
            <pc:sldMk cId="1082496383" sldId="257"/>
            <ac:picMk id="30" creationId="{B8EFDE25-68AE-4971-AE6D-CC75C486E2F1}"/>
          </ac:picMkLst>
        </pc:picChg>
        <pc:picChg chg="mod topLvl">
          <ac:chgData name="Joan Viladomiu Tora" userId="769a1043-f370-4a5b-a0e1-4e76db633912" providerId="ADAL" clId="{B72382DE-DD2E-41EE-B7A2-9D431A601203}" dt="2022-11-23T22:58:28.570" v="8510" actId="165"/>
          <ac:picMkLst>
            <pc:docMk/>
            <pc:sldMk cId="1082496383" sldId="257"/>
            <ac:picMk id="31" creationId="{CDD50DB6-7FAF-4214-AF84-062DE38F4BDA}"/>
          </ac:picMkLst>
        </pc:picChg>
        <pc:picChg chg="mod topLvl">
          <ac:chgData name="Joan Viladomiu Tora" userId="769a1043-f370-4a5b-a0e1-4e76db633912" providerId="ADAL" clId="{B72382DE-DD2E-41EE-B7A2-9D431A601203}" dt="2022-11-23T22:58:28.570" v="8510" actId="165"/>
          <ac:picMkLst>
            <pc:docMk/>
            <pc:sldMk cId="1082496383" sldId="257"/>
            <ac:picMk id="32" creationId="{5FB51E29-3423-45EB-A810-AB3F5FC44CE2}"/>
          </ac:picMkLst>
        </pc:picChg>
      </pc:sldChg>
      <pc:sldChg chg="modSp del mod ord modNotes">
        <pc:chgData name="Joan Viladomiu Tora" userId="769a1043-f370-4a5b-a0e1-4e76db633912" providerId="ADAL" clId="{B72382DE-DD2E-41EE-B7A2-9D431A601203}" dt="2022-11-23T18:10:19.390" v="4679" actId="47"/>
        <pc:sldMkLst>
          <pc:docMk/>
          <pc:sldMk cId="1788761804" sldId="258"/>
        </pc:sldMkLst>
        <pc:spChg chg="mod">
          <ac:chgData name="Joan Viladomiu Tora" userId="769a1043-f370-4a5b-a0e1-4e76db633912" providerId="ADAL" clId="{B72382DE-DD2E-41EE-B7A2-9D431A601203}" dt="2022-11-23T18:02:20.300" v="4399" actId="948"/>
          <ac:spMkLst>
            <pc:docMk/>
            <pc:sldMk cId="1788761804" sldId="258"/>
            <ac:spMk id="4" creationId="{9DFA7553-47CC-4F0D-82EF-804F97A4A83A}"/>
          </ac:spMkLst>
        </pc:spChg>
        <pc:spChg chg="mod">
          <ac:chgData name="Joan Viladomiu Tora" userId="769a1043-f370-4a5b-a0e1-4e76db633912" providerId="ADAL" clId="{B72382DE-DD2E-41EE-B7A2-9D431A601203}" dt="2022-11-23T18:07:49.753" v="4598" actId="21"/>
          <ac:spMkLst>
            <pc:docMk/>
            <pc:sldMk cId="1788761804" sldId="258"/>
            <ac:spMk id="6" creationId="{B08F3F55-E37B-462A-8811-AD30745088DC}"/>
          </ac:spMkLst>
        </pc:spChg>
        <pc:graphicFrameChg chg="mod">
          <ac:chgData name="Joan Viladomiu Tora" userId="769a1043-f370-4a5b-a0e1-4e76db633912" providerId="ADAL" clId="{B72382DE-DD2E-41EE-B7A2-9D431A601203}" dt="2022-11-23T18:02:20.534" v="4506" actId="1076"/>
          <ac:graphicFrameMkLst>
            <pc:docMk/>
            <pc:sldMk cId="1788761804" sldId="258"/>
            <ac:graphicFrameMk id="5" creationId="{031B39ED-941B-40A2-BB3C-B76D12F43DA7}"/>
          </ac:graphicFrameMkLst>
        </pc:graphicFrameChg>
      </pc:sldChg>
      <pc:sldChg chg="addSp delSp modSp mod modNotes">
        <pc:chgData name="Joan Viladomiu Tora" userId="769a1043-f370-4a5b-a0e1-4e76db633912" providerId="ADAL" clId="{B72382DE-DD2E-41EE-B7A2-9D431A601203}" dt="2022-11-23T22:32:02.033" v="8026" actId="478"/>
        <pc:sldMkLst>
          <pc:docMk/>
          <pc:sldMk cId="1859713494" sldId="259"/>
        </pc:sldMkLst>
        <pc:spChg chg="mod">
          <ac:chgData name="Joan Viladomiu Tora" userId="769a1043-f370-4a5b-a0e1-4e76db633912" providerId="ADAL" clId="{B72382DE-DD2E-41EE-B7A2-9D431A601203}" dt="2022-11-23T18:02:18.167" v="3745" actId="947"/>
          <ac:spMkLst>
            <pc:docMk/>
            <pc:sldMk cId="1859713494" sldId="259"/>
            <ac:spMk id="5" creationId="{76BF6593-7738-402C-B54A-602C4056F720}"/>
          </ac:spMkLst>
        </pc:spChg>
        <pc:spChg chg="del">
          <ac:chgData name="Joan Viladomiu Tora" userId="769a1043-f370-4a5b-a0e1-4e76db633912" providerId="ADAL" clId="{B72382DE-DD2E-41EE-B7A2-9D431A601203}" dt="2022-11-23T17:28:41.245" v="1441" actId="478"/>
          <ac:spMkLst>
            <pc:docMk/>
            <pc:sldMk cId="1859713494" sldId="259"/>
            <ac:spMk id="7" creationId="{694B0D0D-B118-4584-B013-58D9315D59AC}"/>
          </ac:spMkLst>
        </pc:spChg>
        <pc:spChg chg="del">
          <ac:chgData name="Joan Viladomiu Tora" userId="769a1043-f370-4a5b-a0e1-4e76db633912" providerId="ADAL" clId="{B72382DE-DD2E-41EE-B7A2-9D431A601203}" dt="2022-11-23T17:28:41.245" v="1441" actId="478"/>
          <ac:spMkLst>
            <pc:docMk/>
            <pc:sldMk cId="1859713494" sldId="259"/>
            <ac:spMk id="8" creationId="{0E320AD5-09D6-4824-B4CB-6779500335CF}"/>
          </ac:spMkLst>
        </pc:spChg>
        <pc:spChg chg="del">
          <ac:chgData name="Joan Viladomiu Tora" userId="769a1043-f370-4a5b-a0e1-4e76db633912" providerId="ADAL" clId="{B72382DE-DD2E-41EE-B7A2-9D431A601203}" dt="2022-11-23T22:32:02.033" v="8026" actId="478"/>
          <ac:spMkLst>
            <pc:docMk/>
            <pc:sldMk cId="1859713494" sldId="259"/>
            <ac:spMk id="9" creationId="{E40C1545-7809-4172-ACC6-7FCE35F7A773}"/>
          </ac:spMkLst>
        </pc:spChg>
        <pc:grpChg chg="add del mod">
          <ac:chgData name="Joan Viladomiu Tora" userId="769a1043-f370-4a5b-a0e1-4e76db633912" providerId="ADAL" clId="{B72382DE-DD2E-41EE-B7A2-9D431A601203}" dt="2022-11-23T22:30:48.886" v="7992" actId="165"/>
          <ac:grpSpMkLst>
            <pc:docMk/>
            <pc:sldMk cId="1859713494" sldId="259"/>
            <ac:grpSpMk id="7" creationId="{27F8E7A6-7287-4325-984D-895B726F60F8}"/>
          </ac:grpSpMkLst>
        </pc:grpChg>
        <pc:graphicFrameChg chg="mod">
          <ac:chgData name="Joan Viladomiu Tora" userId="769a1043-f370-4a5b-a0e1-4e76db633912" providerId="ADAL" clId="{B72382DE-DD2E-41EE-B7A2-9D431A601203}" dt="2022-11-23T18:02:20.426" v="4478" actId="1076"/>
          <ac:graphicFrameMkLst>
            <pc:docMk/>
            <pc:sldMk cId="1859713494" sldId="259"/>
            <ac:graphicFrameMk id="6" creationId="{8E4DB42F-4630-49B3-9DC9-377BB0073649}"/>
          </ac:graphicFrameMkLst>
        </pc:graphicFrameChg>
        <pc:picChg chg="del mod topLvl">
          <ac:chgData name="Joan Viladomiu Tora" userId="769a1043-f370-4a5b-a0e1-4e76db633912" providerId="ADAL" clId="{B72382DE-DD2E-41EE-B7A2-9D431A601203}" dt="2022-11-23T22:30:51.896" v="7993" actId="478"/>
          <ac:picMkLst>
            <pc:docMk/>
            <pc:sldMk cId="1859713494" sldId="259"/>
            <ac:picMk id="8" creationId="{2A31FA3A-0039-462C-B9BF-BE9916618A30}"/>
          </ac:picMkLst>
        </pc:picChg>
        <pc:picChg chg="del mod topLvl">
          <ac:chgData name="Joan Viladomiu Tora" userId="769a1043-f370-4a5b-a0e1-4e76db633912" providerId="ADAL" clId="{B72382DE-DD2E-41EE-B7A2-9D431A601203}" dt="2022-11-23T22:30:51.896" v="7993" actId="478"/>
          <ac:picMkLst>
            <pc:docMk/>
            <pc:sldMk cId="1859713494" sldId="259"/>
            <ac:picMk id="10" creationId="{6091E32B-0CCE-4191-AC33-84B6DDBAF55D}"/>
          </ac:picMkLst>
        </pc:picChg>
        <pc:picChg chg="del mod topLvl">
          <ac:chgData name="Joan Viladomiu Tora" userId="769a1043-f370-4a5b-a0e1-4e76db633912" providerId="ADAL" clId="{B72382DE-DD2E-41EE-B7A2-9D431A601203}" dt="2022-11-23T22:31:57.096" v="8025" actId="478"/>
          <ac:picMkLst>
            <pc:docMk/>
            <pc:sldMk cId="1859713494" sldId="259"/>
            <ac:picMk id="11" creationId="{A3F22661-EC7E-4C4C-B8CD-6F9662F2F98D}"/>
          </ac:picMkLst>
        </pc:picChg>
        <pc:picChg chg="add del mod">
          <ac:chgData name="Joan Viladomiu Tora" userId="769a1043-f370-4a5b-a0e1-4e76db633912" providerId="ADAL" clId="{B72382DE-DD2E-41EE-B7A2-9D431A601203}" dt="2022-11-23T22:31:57.096" v="8025" actId="478"/>
          <ac:picMkLst>
            <pc:docMk/>
            <pc:sldMk cId="1859713494" sldId="259"/>
            <ac:picMk id="12" creationId="{489CB400-F60B-432C-8442-785B7C2B5435}"/>
          </ac:picMkLst>
        </pc:picChg>
      </pc:sldChg>
      <pc:sldChg chg="addSp delSp modSp add del mod modClrScheme chgLayout">
        <pc:chgData name="Joan Viladomiu Tora" userId="769a1043-f370-4a5b-a0e1-4e76db633912" providerId="ADAL" clId="{B72382DE-DD2E-41EE-B7A2-9D431A601203}" dt="2022-11-23T17:27:17.472" v="1435" actId="47"/>
        <pc:sldMkLst>
          <pc:docMk/>
          <pc:sldMk cId="2722210674" sldId="260"/>
        </pc:sldMkLst>
        <pc:spChg chg="add del mod">
          <ac:chgData name="Joan Viladomiu Tora" userId="769a1043-f370-4a5b-a0e1-4e76db633912" providerId="ADAL" clId="{B72382DE-DD2E-41EE-B7A2-9D431A601203}" dt="2022-11-23T17:09:46.615" v="5"/>
          <ac:spMkLst>
            <pc:docMk/>
            <pc:sldMk cId="2722210674" sldId="260"/>
            <ac:spMk id="3" creationId="{B538A159-210E-4B5F-BD01-391502DAB3FE}"/>
          </ac:spMkLst>
        </pc:spChg>
        <pc:spChg chg="mod ord">
          <ac:chgData name="Joan Viladomiu Tora" userId="769a1043-f370-4a5b-a0e1-4e76db633912" providerId="ADAL" clId="{B72382DE-DD2E-41EE-B7A2-9D431A601203}" dt="2022-11-23T17:09:49.755" v="9" actId="20577"/>
          <ac:spMkLst>
            <pc:docMk/>
            <pc:sldMk cId="2722210674" sldId="260"/>
            <ac:spMk id="4" creationId="{9DFA7553-47CC-4F0D-82EF-804F97A4A83A}"/>
          </ac:spMkLst>
        </pc:spChg>
        <pc:spChg chg="del mod">
          <ac:chgData name="Joan Viladomiu Tora" userId="769a1043-f370-4a5b-a0e1-4e76db633912" providerId="ADAL" clId="{B72382DE-DD2E-41EE-B7A2-9D431A601203}" dt="2022-11-23T17:09:39.095" v="3" actId="478"/>
          <ac:spMkLst>
            <pc:docMk/>
            <pc:sldMk cId="2722210674" sldId="260"/>
            <ac:spMk id="6" creationId="{B08F3F55-E37B-462A-8811-AD30745088DC}"/>
          </ac:spMkLst>
        </pc:spChg>
        <pc:spChg chg="del mod">
          <ac:chgData name="Joan Viladomiu Tora" userId="769a1043-f370-4a5b-a0e1-4e76db633912" providerId="ADAL" clId="{B72382DE-DD2E-41EE-B7A2-9D431A601203}" dt="2022-11-23T17:09:39.095" v="3" actId="478"/>
          <ac:spMkLst>
            <pc:docMk/>
            <pc:sldMk cId="2722210674" sldId="260"/>
            <ac:spMk id="7" creationId="{1AF8211D-4753-47C0-9939-B16D77886184}"/>
          </ac:spMkLst>
        </pc:spChg>
        <pc:grpChg chg="mod">
          <ac:chgData name="Joan Viladomiu Tora" userId="769a1043-f370-4a5b-a0e1-4e76db633912" providerId="ADAL" clId="{B72382DE-DD2E-41EE-B7A2-9D431A601203}" dt="2022-11-23T17:09:30.461" v="2"/>
          <ac:grpSpMkLst>
            <pc:docMk/>
            <pc:sldMk cId="2722210674" sldId="260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B72382DE-DD2E-41EE-B7A2-9D431A601203}" dt="2022-11-23T17:09:50.258" v="11"/>
          <ac:graphicFrameMkLst>
            <pc:docMk/>
            <pc:sldMk cId="2722210674" sldId="260"/>
            <ac:graphicFrameMk id="5" creationId="{031B39ED-941B-40A2-BB3C-B76D12F43DA7}"/>
          </ac:graphicFrameMkLst>
        </pc:graphicFrameChg>
      </pc:sldChg>
      <pc:sldChg chg="addSp delSp modSp mod modNotes">
        <pc:chgData name="Joan Viladomiu Tora" userId="769a1043-f370-4a5b-a0e1-4e76db633912" providerId="ADAL" clId="{B72382DE-DD2E-41EE-B7A2-9D431A601203}" dt="2022-11-23T22:33:51.516" v="8041" actId="21"/>
        <pc:sldMkLst>
          <pc:docMk/>
          <pc:sldMk cId="1605097661" sldId="261"/>
        </pc:sldMkLst>
        <pc:spChg chg="mod">
          <ac:chgData name="Joan Viladomiu Tora" userId="769a1043-f370-4a5b-a0e1-4e76db633912" providerId="ADAL" clId="{B72382DE-DD2E-41EE-B7A2-9D431A601203}" dt="2022-11-23T18:02:19.065" v="3914" actId="948"/>
          <ac:spMkLst>
            <pc:docMk/>
            <pc:sldMk cId="1605097661" sldId="261"/>
            <ac:spMk id="2" creationId="{6D20B3CF-A5C7-45DB-9513-5AB9F3BD2AA4}"/>
          </ac:spMkLst>
        </pc:spChg>
        <pc:spChg chg="mod">
          <ac:chgData name="Joan Viladomiu Tora" userId="769a1043-f370-4a5b-a0e1-4e76db633912" providerId="ADAL" clId="{B72382DE-DD2E-41EE-B7A2-9D431A601203}" dt="2022-11-23T22:33:46.919" v="8040" actId="12788"/>
          <ac:spMkLst>
            <pc:docMk/>
            <pc:sldMk cId="1605097661" sldId="261"/>
            <ac:spMk id="4" creationId="{F84F22B1-1CFE-4835-A8B7-4E4FB44706E4}"/>
          </ac:spMkLst>
        </pc:spChg>
        <pc:spChg chg="add del mod">
          <ac:chgData name="Joan Viladomiu Tora" userId="769a1043-f370-4a5b-a0e1-4e76db633912" providerId="ADAL" clId="{B72382DE-DD2E-41EE-B7A2-9D431A601203}" dt="2022-11-23T17:56:44.998" v="3389" actId="21"/>
          <ac:spMkLst>
            <pc:docMk/>
            <pc:sldMk cId="1605097661" sldId="261"/>
            <ac:spMk id="5" creationId="{0BFCD86F-96B7-4BFA-AD52-03DC002A8DAB}"/>
          </ac:spMkLst>
        </pc:spChg>
        <pc:spChg chg="add del mod">
          <ac:chgData name="Joan Viladomiu Tora" userId="769a1043-f370-4a5b-a0e1-4e76db633912" providerId="ADAL" clId="{B72382DE-DD2E-41EE-B7A2-9D431A601203}" dt="2022-11-23T17:56:44.998" v="3389" actId="21"/>
          <ac:spMkLst>
            <pc:docMk/>
            <pc:sldMk cId="1605097661" sldId="261"/>
            <ac:spMk id="6" creationId="{875CDF75-97AE-4919-B622-2D5EB58F5B4E}"/>
          </ac:spMkLst>
        </pc:spChg>
        <pc:spChg chg="add del mod">
          <ac:chgData name="Joan Viladomiu Tora" userId="769a1043-f370-4a5b-a0e1-4e76db633912" providerId="ADAL" clId="{B72382DE-DD2E-41EE-B7A2-9D431A601203}" dt="2022-11-23T22:33:51.516" v="8041" actId="21"/>
          <ac:spMkLst>
            <pc:docMk/>
            <pc:sldMk cId="1605097661" sldId="261"/>
            <ac:spMk id="9" creationId="{C2A7D457-15F6-4CDB-ADCF-221433422E1C}"/>
          </ac:spMkLst>
        </pc:spChg>
        <pc:grpChg chg="add mod">
          <ac:chgData name="Joan Viladomiu Tora" userId="769a1043-f370-4a5b-a0e1-4e76db633912" providerId="ADAL" clId="{B72382DE-DD2E-41EE-B7A2-9D431A601203}" dt="2022-11-23T22:29:56.166" v="7985" actId="553"/>
          <ac:grpSpMkLst>
            <pc:docMk/>
            <pc:sldMk cId="1605097661" sldId="261"/>
            <ac:grpSpMk id="8" creationId="{F6DE04A9-FED4-4753-8B9E-23DF65C24163}"/>
          </ac:grpSpMkLst>
        </pc:grpChg>
        <pc:graphicFrameChg chg="mod">
          <ac:chgData name="Joan Viladomiu Tora" userId="769a1043-f370-4a5b-a0e1-4e76db633912" providerId="ADAL" clId="{B72382DE-DD2E-41EE-B7A2-9D431A601203}" dt="2022-11-23T18:02:20.420" v="4477" actId="1076"/>
          <ac:graphicFrameMkLst>
            <pc:docMk/>
            <pc:sldMk cId="1605097661" sldId="261"/>
            <ac:graphicFrameMk id="3" creationId="{E82D60BF-D2CB-46ED-AF4D-D588879D5FF3}"/>
          </ac:graphicFrameMkLst>
        </pc:graphicFrameChg>
        <pc:picChg chg="add mod">
          <ac:chgData name="Joan Viladomiu Tora" userId="769a1043-f370-4a5b-a0e1-4e76db633912" providerId="ADAL" clId="{B72382DE-DD2E-41EE-B7A2-9D431A601203}" dt="2022-11-23T22:29:27.279" v="7977" actId="164"/>
          <ac:picMkLst>
            <pc:docMk/>
            <pc:sldMk cId="1605097661" sldId="261"/>
            <ac:picMk id="5" creationId="{07C3704D-9ADE-4745-B24B-1E8AD6CB5342}"/>
          </ac:picMkLst>
        </pc:picChg>
        <pc:picChg chg="add mod">
          <ac:chgData name="Joan Viladomiu Tora" userId="769a1043-f370-4a5b-a0e1-4e76db633912" providerId="ADAL" clId="{B72382DE-DD2E-41EE-B7A2-9D431A601203}" dt="2022-11-23T22:29:27.279" v="7977" actId="164"/>
          <ac:picMkLst>
            <pc:docMk/>
            <pc:sldMk cId="1605097661" sldId="261"/>
            <ac:picMk id="6" creationId="{238C63D6-A795-4E7C-8BC8-131132F0B679}"/>
          </ac:picMkLst>
        </pc:picChg>
        <pc:picChg chg="add mod">
          <ac:chgData name="Joan Viladomiu Tora" userId="769a1043-f370-4a5b-a0e1-4e76db633912" providerId="ADAL" clId="{B72382DE-DD2E-41EE-B7A2-9D431A601203}" dt="2022-11-23T22:29:27.279" v="7977" actId="164"/>
          <ac:picMkLst>
            <pc:docMk/>
            <pc:sldMk cId="1605097661" sldId="261"/>
            <ac:picMk id="7" creationId="{B40A784D-155E-44F5-A832-4EDCACA2FEB2}"/>
          </ac:picMkLst>
        </pc:picChg>
      </pc:sldChg>
      <pc:sldChg chg="addSp delSp modSp add mod modNotes">
        <pc:chgData name="Joan Viladomiu Tora" userId="769a1043-f370-4a5b-a0e1-4e76db633912" providerId="ADAL" clId="{B72382DE-DD2E-41EE-B7A2-9D431A601203}" dt="2022-11-23T22:34:02.848" v="8044" actId="21"/>
        <pc:sldMkLst>
          <pc:docMk/>
          <pc:sldMk cId="2762255842" sldId="262"/>
        </pc:sldMkLst>
        <pc:spChg chg="mod">
          <ac:chgData name="Joan Viladomiu Tora" userId="769a1043-f370-4a5b-a0e1-4e76db633912" providerId="ADAL" clId="{B72382DE-DD2E-41EE-B7A2-9D431A601203}" dt="2022-11-23T18:02:20.307" v="4401" actId="948"/>
          <ac:spMkLst>
            <pc:docMk/>
            <pc:sldMk cId="2762255842" sldId="262"/>
            <ac:spMk id="2" creationId="{6D20B3CF-A5C7-45DB-9513-5AB9F3BD2AA4}"/>
          </ac:spMkLst>
        </pc:spChg>
        <pc:spChg chg="mod">
          <ac:chgData name="Joan Viladomiu Tora" userId="769a1043-f370-4a5b-a0e1-4e76db633912" providerId="ADAL" clId="{B72382DE-DD2E-41EE-B7A2-9D431A601203}" dt="2022-11-23T22:33:59.247" v="8043" actId="12788"/>
          <ac:spMkLst>
            <pc:docMk/>
            <pc:sldMk cId="2762255842" sldId="262"/>
            <ac:spMk id="4" creationId="{F84F22B1-1CFE-4835-A8B7-4E4FB44706E4}"/>
          </ac:spMkLst>
        </pc:spChg>
        <pc:spChg chg="add del mod">
          <ac:chgData name="Joan Viladomiu Tora" userId="769a1043-f370-4a5b-a0e1-4e76db633912" providerId="ADAL" clId="{B72382DE-DD2E-41EE-B7A2-9D431A601203}" dt="2022-11-23T22:34:02.848" v="8044" actId="21"/>
          <ac:spMkLst>
            <pc:docMk/>
            <pc:sldMk cId="2762255842" sldId="262"/>
            <ac:spMk id="9" creationId="{A139BDFA-5104-4CCB-AE00-08CD6E46FD2F}"/>
          </ac:spMkLst>
        </pc:spChg>
        <pc:grpChg chg="mod">
          <ac:chgData name="Joan Viladomiu Tora" userId="769a1043-f370-4a5b-a0e1-4e76db633912" providerId="ADAL" clId="{B72382DE-DD2E-41EE-B7A2-9D431A601203}" dt="2022-11-23T17:26:38.610" v="1424"/>
          <ac:grpSpMkLst>
            <pc:docMk/>
            <pc:sldMk cId="2762255842" sldId="262"/>
            <ac:grpSpMk id="1" creationId="{00000000-0000-0000-0000-000000000000}"/>
          </ac:grpSpMkLst>
        </pc:grpChg>
        <pc:grpChg chg="add mod">
          <ac:chgData name="Joan Viladomiu Tora" userId="769a1043-f370-4a5b-a0e1-4e76db633912" providerId="ADAL" clId="{B72382DE-DD2E-41EE-B7A2-9D431A601203}" dt="2022-11-23T22:30:10.108" v="7988"/>
          <ac:grpSpMkLst>
            <pc:docMk/>
            <pc:sldMk cId="2762255842" sldId="262"/>
            <ac:grpSpMk id="5" creationId="{EEB25B14-D537-4F43-8557-F81FEB978B65}"/>
          </ac:grpSpMkLst>
        </pc:grpChg>
        <pc:graphicFrameChg chg="mod">
          <ac:chgData name="Joan Viladomiu Tora" userId="769a1043-f370-4a5b-a0e1-4e76db633912" providerId="ADAL" clId="{B72382DE-DD2E-41EE-B7A2-9D431A601203}" dt="2022-11-23T18:02:20.545" v="4508" actId="1076"/>
          <ac:graphicFrameMkLst>
            <pc:docMk/>
            <pc:sldMk cId="2762255842" sldId="262"/>
            <ac:graphicFrameMk id="3" creationId="{E82D60BF-D2CB-46ED-AF4D-D588879D5FF3}"/>
          </ac:graphicFrameMkLst>
        </pc:graphicFrameChg>
        <pc:picChg chg="mod">
          <ac:chgData name="Joan Viladomiu Tora" userId="769a1043-f370-4a5b-a0e1-4e76db633912" providerId="ADAL" clId="{B72382DE-DD2E-41EE-B7A2-9D431A601203}" dt="2022-11-23T22:30:10.108" v="7988"/>
          <ac:picMkLst>
            <pc:docMk/>
            <pc:sldMk cId="2762255842" sldId="262"/>
            <ac:picMk id="6" creationId="{CA9A272B-08B7-4FE4-BA07-4BB751E64389}"/>
          </ac:picMkLst>
        </pc:picChg>
        <pc:picChg chg="mod">
          <ac:chgData name="Joan Viladomiu Tora" userId="769a1043-f370-4a5b-a0e1-4e76db633912" providerId="ADAL" clId="{B72382DE-DD2E-41EE-B7A2-9D431A601203}" dt="2022-11-23T22:30:10.108" v="7988"/>
          <ac:picMkLst>
            <pc:docMk/>
            <pc:sldMk cId="2762255842" sldId="262"/>
            <ac:picMk id="7" creationId="{2B91B8E1-CBC3-4177-BAC2-7446C41B0800}"/>
          </ac:picMkLst>
        </pc:picChg>
        <pc:picChg chg="mod">
          <ac:chgData name="Joan Viladomiu Tora" userId="769a1043-f370-4a5b-a0e1-4e76db633912" providerId="ADAL" clId="{B72382DE-DD2E-41EE-B7A2-9D431A601203}" dt="2022-11-23T22:30:10.108" v="7988"/>
          <ac:picMkLst>
            <pc:docMk/>
            <pc:sldMk cId="2762255842" sldId="262"/>
            <ac:picMk id="8" creationId="{275EDE77-0C12-4A00-9381-6E6D5EEF58B9}"/>
          </ac:picMkLst>
        </pc:picChg>
      </pc:sldChg>
      <pc:sldChg chg="addSp delSp modSp add mod modNotes">
        <pc:chgData name="Joan Viladomiu Tora" userId="769a1043-f370-4a5b-a0e1-4e76db633912" providerId="ADAL" clId="{B72382DE-DD2E-41EE-B7A2-9D431A601203}" dt="2022-11-24T07:52:33.337" v="10100" actId="164"/>
        <pc:sldMkLst>
          <pc:docMk/>
          <pc:sldMk cId="3069269" sldId="263"/>
        </pc:sldMkLst>
        <pc:spChg chg="mod">
          <ac:chgData name="Joan Viladomiu Tora" userId="769a1043-f370-4a5b-a0e1-4e76db633912" providerId="ADAL" clId="{B72382DE-DD2E-41EE-B7A2-9D431A601203}" dt="2022-11-23T18:02:20.311" v="4402" actId="948"/>
          <ac:spMkLst>
            <pc:docMk/>
            <pc:sldMk cId="3069269" sldId="263"/>
            <ac:spMk id="2" creationId="{6D20B3CF-A5C7-45DB-9513-5AB9F3BD2AA4}"/>
          </ac:spMkLst>
        </pc:spChg>
        <pc:spChg chg="mod">
          <ac:chgData name="Joan Viladomiu Tora" userId="769a1043-f370-4a5b-a0e1-4e76db633912" providerId="ADAL" clId="{B72382DE-DD2E-41EE-B7A2-9D431A601203}" dt="2022-11-23T22:34:13.348" v="8046" actId="12788"/>
          <ac:spMkLst>
            <pc:docMk/>
            <pc:sldMk cId="3069269" sldId="263"/>
            <ac:spMk id="4" creationId="{F84F22B1-1CFE-4835-A8B7-4E4FB44706E4}"/>
          </ac:spMkLst>
        </pc:spChg>
        <pc:spChg chg="add del mod modVis">
          <ac:chgData name="Joan Viladomiu Tora" userId="769a1043-f370-4a5b-a0e1-4e76db633912" providerId="ADAL" clId="{B72382DE-DD2E-41EE-B7A2-9D431A601203}" dt="2022-11-23T17:43:30.757" v="3090"/>
          <ac:spMkLst>
            <pc:docMk/>
            <pc:sldMk cId="3069269" sldId="263"/>
            <ac:spMk id="5" creationId="{6FB132B1-919B-45F8-AE0C-85649CF0FED3}"/>
          </ac:spMkLst>
        </pc:spChg>
        <pc:spChg chg="del mod modVis">
          <ac:chgData name="Joan Viladomiu Tora" userId="769a1043-f370-4a5b-a0e1-4e76db633912" providerId="ADAL" clId="{B72382DE-DD2E-41EE-B7A2-9D431A601203}" dt="2022-11-23T18:02:20.547" v="4509" actId="478"/>
          <ac:spMkLst>
            <pc:docMk/>
            <pc:sldMk cId="3069269" sldId="263"/>
            <ac:spMk id="6" creationId="{1840B1F9-4700-40F9-A3B0-25F030CCADE8}"/>
          </ac:spMkLst>
        </pc:spChg>
        <pc:spChg chg="add del mod">
          <ac:chgData name="Joan Viladomiu Tora" userId="769a1043-f370-4a5b-a0e1-4e76db633912" providerId="ADAL" clId="{B72382DE-DD2E-41EE-B7A2-9D431A601203}" dt="2022-11-23T22:34:16.600" v="8047" actId="21"/>
          <ac:spMkLst>
            <pc:docMk/>
            <pc:sldMk cId="3069269" sldId="263"/>
            <ac:spMk id="9" creationId="{7FD51F11-C9E9-48F9-AB87-26607D299E5E}"/>
          </ac:spMkLst>
        </pc:spChg>
        <pc:grpChg chg="mod">
          <ac:chgData name="Joan Viladomiu Tora" userId="769a1043-f370-4a5b-a0e1-4e76db633912" providerId="ADAL" clId="{B72382DE-DD2E-41EE-B7A2-9D431A601203}" dt="2022-11-23T17:26:38.961" v="1426"/>
          <ac:grpSpMkLst>
            <pc:docMk/>
            <pc:sldMk cId="3069269" sldId="263"/>
            <ac:grpSpMk id="1" creationId="{00000000-0000-0000-0000-000000000000}"/>
          </ac:grpSpMkLst>
        </pc:grpChg>
        <pc:grpChg chg="add del mod">
          <ac:chgData name="Joan Viladomiu Tora" userId="769a1043-f370-4a5b-a0e1-4e76db633912" providerId="ADAL" clId="{B72382DE-DD2E-41EE-B7A2-9D431A601203}" dt="2022-11-24T07:52:30.870" v="10099" actId="165"/>
          <ac:grpSpMkLst>
            <pc:docMk/>
            <pc:sldMk cId="3069269" sldId="263"/>
            <ac:grpSpMk id="5" creationId="{B99D2B26-1AD4-4D79-877D-5FE0FD37A301}"/>
          </ac:grpSpMkLst>
        </pc:grpChg>
        <pc:grpChg chg="add mod">
          <ac:chgData name="Joan Viladomiu Tora" userId="769a1043-f370-4a5b-a0e1-4e76db633912" providerId="ADAL" clId="{B72382DE-DD2E-41EE-B7A2-9D431A601203}" dt="2022-11-24T07:52:33.337" v="10100" actId="164"/>
          <ac:grpSpMkLst>
            <pc:docMk/>
            <pc:sldMk cId="3069269" sldId="263"/>
            <ac:grpSpMk id="9" creationId="{6C4711CB-2A12-427C-98DB-311D4D2E28CA}"/>
          </ac:grpSpMkLst>
        </pc:grpChg>
        <pc:graphicFrameChg chg="mod">
          <ac:chgData name="Joan Viladomiu Tora" userId="769a1043-f370-4a5b-a0e1-4e76db633912" providerId="ADAL" clId="{B72382DE-DD2E-41EE-B7A2-9D431A601203}" dt="2022-11-23T18:02:20.553" v="4510" actId="1076"/>
          <ac:graphicFrameMkLst>
            <pc:docMk/>
            <pc:sldMk cId="3069269" sldId="263"/>
            <ac:graphicFrameMk id="3" creationId="{E82D60BF-D2CB-46ED-AF4D-D588879D5FF3}"/>
          </ac:graphicFrameMkLst>
        </pc:graphicFrameChg>
        <pc:picChg chg="mod topLvl">
          <ac:chgData name="Joan Viladomiu Tora" userId="769a1043-f370-4a5b-a0e1-4e76db633912" providerId="ADAL" clId="{B72382DE-DD2E-41EE-B7A2-9D431A601203}" dt="2022-11-24T07:52:33.337" v="10100" actId="164"/>
          <ac:picMkLst>
            <pc:docMk/>
            <pc:sldMk cId="3069269" sldId="263"/>
            <ac:picMk id="6" creationId="{21A52F0A-121D-4011-885F-E3EC6E05A688}"/>
          </ac:picMkLst>
        </pc:picChg>
        <pc:picChg chg="mod topLvl">
          <ac:chgData name="Joan Viladomiu Tora" userId="769a1043-f370-4a5b-a0e1-4e76db633912" providerId="ADAL" clId="{B72382DE-DD2E-41EE-B7A2-9D431A601203}" dt="2022-11-24T07:52:33.337" v="10100" actId="164"/>
          <ac:picMkLst>
            <pc:docMk/>
            <pc:sldMk cId="3069269" sldId="263"/>
            <ac:picMk id="7" creationId="{31622C32-375A-43AE-985A-7B1E8297A3E3}"/>
          </ac:picMkLst>
        </pc:picChg>
        <pc:picChg chg="mod topLvl">
          <ac:chgData name="Joan Viladomiu Tora" userId="769a1043-f370-4a5b-a0e1-4e76db633912" providerId="ADAL" clId="{B72382DE-DD2E-41EE-B7A2-9D431A601203}" dt="2022-11-24T07:52:33.337" v="10100" actId="164"/>
          <ac:picMkLst>
            <pc:docMk/>
            <pc:sldMk cId="3069269" sldId="263"/>
            <ac:picMk id="8" creationId="{C15F421B-A3B1-4A0B-A38D-78B46AD94398}"/>
          </ac:picMkLst>
        </pc:picChg>
      </pc:sldChg>
      <pc:sldChg chg="addSp delSp modSp add mod modNotes">
        <pc:chgData name="Joan Viladomiu Tora" userId="769a1043-f370-4a5b-a0e1-4e76db633912" providerId="ADAL" clId="{B72382DE-DD2E-41EE-B7A2-9D431A601203}" dt="2022-11-23T22:34:29.375" v="8050" actId="21"/>
        <pc:sldMkLst>
          <pc:docMk/>
          <pc:sldMk cId="801117589" sldId="264"/>
        </pc:sldMkLst>
        <pc:spChg chg="mod">
          <ac:chgData name="Joan Viladomiu Tora" userId="769a1043-f370-4a5b-a0e1-4e76db633912" providerId="ADAL" clId="{B72382DE-DD2E-41EE-B7A2-9D431A601203}" dt="2022-11-23T18:02:20.304" v="4400" actId="948"/>
          <ac:spMkLst>
            <pc:docMk/>
            <pc:sldMk cId="801117589" sldId="264"/>
            <ac:spMk id="2" creationId="{6D20B3CF-A5C7-45DB-9513-5AB9F3BD2AA4}"/>
          </ac:spMkLst>
        </pc:spChg>
        <pc:spChg chg="mod">
          <ac:chgData name="Joan Viladomiu Tora" userId="769a1043-f370-4a5b-a0e1-4e76db633912" providerId="ADAL" clId="{B72382DE-DD2E-41EE-B7A2-9D431A601203}" dt="2022-11-23T22:34:26.334" v="8049" actId="12788"/>
          <ac:spMkLst>
            <pc:docMk/>
            <pc:sldMk cId="801117589" sldId="264"/>
            <ac:spMk id="4" creationId="{F84F22B1-1CFE-4835-A8B7-4E4FB44706E4}"/>
          </ac:spMkLst>
        </pc:spChg>
        <pc:spChg chg="add del mod">
          <ac:chgData name="Joan Viladomiu Tora" userId="769a1043-f370-4a5b-a0e1-4e76db633912" providerId="ADAL" clId="{B72382DE-DD2E-41EE-B7A2-9D431A601203}" dt="2022-11-23T22:34:29.375" v="8050" actId="21"/>
          <ac:spMkLst>
            <pc:docMk/>
            <pc:sldMk cId="801117589" sldId="264"/>
            <ac:spMk id="9" creationId="{8D248F80-EC1A-40B9-A08F-C6DD05CD9525}"/>
          </ac:spMkLst>
        </pc:spChg>
        <pc:grpChg chg="mod">
          <ac:chgData name="Joan Viladomiu Tora" userId="769a1043-f370-4a5b-a0e1-4e76db633912" providerId="ADAL" clId="{B72382DE-DD2E-41EE-B7A2-9D431A601203}" dt="2022-11-23T17:26:54.939" v="1432"/>
          <ac:grpSpMkLst>
            <pc:docMk/>
            <pc:sldMk cId="801117589" sldId="264"/>
            <ac:grpSpMk id="1" creationId="{00000000-0000-0000-0000-000000000000}"/>
          </ac:grpSpMkLst>
        </pc:grpChg>
        <pc:grpChg chg="add mod">
          <ac:chgData name="Joan Viladomiu Tora" userId="769a1043-f370-4a5b-a0e1-4e76db633912" providerId="ADAL" clId="{B72382DE-DD2E-41EE-B7A2-9D431A601203}" dt="2022-11-23T22:30:21.385" v="7990"/>
          <ac:grpSpMkLst>
            <pc:docMk/>
            <pc:sldMk cId="801117589" sldId="264"/>
            <ac:grpSpMk id="5" creationId="{24752A3C-A31A-4401-AAC3-AA94E7248F7D}"/>
          </ac:grpSpMkLst>
        </pc:grpChg>
        <pc:graphicFrameChg chg="mod">
          <ac:chgData name="Joan Viladomiu Tora" userId="769a1043-f370-4a5b-a0e1-4e76db633912" providerId="ADAL" clId="{B72382DE-DD2E-41EE-B7A2-9D431A601203}" dt="2022-11-23T18:02:20.539" v="4507" actId="1076"/>
          <ac:graphicFrameMkLst>
            <pc:docMk/>
            <pc:sldMk cId="801117589" sldId="264"/>
            <ac:graphicFrameMk id="3" creationId="{E82D60BF-D2CB-46ED-AF4D-D588879D5FF3}"/>
          </ac:graphicFrameMkLst>
        </pc:graphicFrameChg>
        <pc:picChg chg="mod">
          <ac:chgData name="Joan Viladomiu Tora" userId="769a1043-f370-4a5b-a0e1-4e76db633912" providerId="ADAL" clId="{B72382DE-DD2E-41EE-B7A2-9D431A601203}" dt="2022-11-23T22:30:21.385" v="7990"/>
          <ac:picMkLst>
            <pc:docMk/>
            <pc:sldMk cId="801117589" sldId="264"/>
            <ac:picMk id="6" creationId="{84D80A28-AC1F-4824-B2E2-86267F6A25B5}"/>
          </ac:picMkLst>
        </pc:picChg>
        <pc:picChg chg="mod">
          <ac:chgData name="Joan Viladomiu Tora" userId="769a1043-f370-4a5b-a0e1-4e76db633912" providerId="ADAL" clId="{B72382DE-DD2E-41EE-B7A2-9D431A601203}" dt="2022-11-23T22:30:21.385" v="7990"/>
          <ac:picMkLst>
            <pc:docMk/>
            <pc:sldMk cId="801117589" sldId="264"/>
            <ac:picMk id="7" creationId="{6C5154F6-2FAA-4C7B-8D8F-25FE0BF91C1A}"/>
          </ac:picMkLst>
        </pc:picChg>
        <pc:picChg chg="mod">
          <ac:chgData name="Joan Viladomiu Tora" userId="769a1043-f370-4a5b-a0e1-4e76db633912" providerId="ADAL" clId="{B72382DE-DD2E-41EE-B7A2-9D431A601203}" dt="2022-11-23T22:30:21.385" v="7990"/>
          <ac:picMkLst>
            <pc:docMk/>
            <pc:sldMk cId="801117589" sldId="264"/>
            <ac:picMk id="8" creationId="{868E242F-9BB4-4CE4-9486-C2D90C72C34F}"/>
          </ac:picMkLst>
        </pc:picChg>
      </pc:sldChg>
      <pc:sldChg chg="addSp delSp modSp mod ord modTransition modShow modNotes">
        <pc:chgData name="Joan Viladomiu Tora" userId="769a1043-f370-4a5b-a0e1-4e76db633912" providerId="ADAL" clId="{B72382DE-DD2E-41EE-B7A2-9D431A601203}" dt="2022-11-23T23:33:27.623" v="9084" actId="14100"/>
        <pc:sldMkLst>
          <pc:docMk/>
          <pc:sldMk cId="650411948" sldId="265"/>
        </pc:sldMkLst>
        <pc:spChg chg="mod">
          <ac:chgData name="Joan Viladomiu Tora" userId="769a1043-f370-4a5b-a0e1-4e76db633912" providerId="ADAL" clId="{B72382DE-DD2E-41EE-B7A2-9D431A601203}" dt="2022-11-23T18:02:21.430" v="4517" actId="948"/>
          <ac:spMkLst>
            <pc:docMk/>
            <pc:sldMk cId="650411948" sldId="265"/>
            <ac:spMk id="2" creationId="{9AB591CE-E7CD-4793-B511-01EEF4704C68}"/>
          </ac:spMkLst>
        </pc:spChg>
        <pc:spChg chg="mod topLvl">
          <ac:chgData name="Joan Viladomiu Tora" userId="769a1043-f370-4a5b-a0e1-4e76db633912" providerId="ADAL" clId="{B72382DE-DD2E-41EE-B7A2-9D431A601203}" dt="2022-11-23T18:02:18.054" v="3707" actId="20577"/>
          <ac:spMkLst>
            <pc:docMk/>
            <pc:sldMk cId="650411948" sldId="265"/>
            <ac:spMk id="4" creationId="{392DC524-ED47-43E5-AB29-FC6934A0BD14}"/>
          </ac:spMkLst>
        </pc:spChg>
        <pc:spChg chg="mod">
          <ac:chgData name="Joan Viladomiu Tora" userId="769a1043-f370-4a5b-a0e1-4e76db633912" providerId="ADAL" clId="{B72382DE-DD2E-41EE-B7A2-9D431A601203}" dt="2022-11-23T18:02:18.048" v="3701" actId="20577"/>
          <ac:spMkLst>
            <pc:docMk/>
            <pc:sldMk cId="650411948" sldId="265"/>
            <ac:spMk id="5" creationId="{58E72ED5-6DEA-4E02-924F-08425D78FBA9}"/>
          </ac:spMkLst>
        </pc:spChg>
        <pc:spChg chg="mod">
          <ac:chgData name="Joan Viladomiu Tora" userId="769a1043-f370-4a5b-a0e1-4e76db633912" providerId="ADAL" clId="{B72382DE-DD2E-41EE-B7A2-9D431A601203}" dt="2022-11-23T18:02:18.043" v="3695" actId="20577"/>
          <ac:spMkLst>
            <pc:docMk/>
            <pc:sldMk cId="650411948" sldId="265"/>
            <ac:spMk id="6" creationId="{729B4F23-6E73-4CA6-81B1-72E7D1FD79B5}"/>
          </ac:spMkLst>
        </pc:spChg>
        <pc:spChg chg="mod">
          <ac:chgData name="Joan Viladomiu Tora" userId="769a1043-f370-4a5b-a0e1-4e76db633912" providerId="ADAL" clId="{B72382DE-DD2E-41EE-B7A2-9D431A601203}" dt="2022-11-23T23:33:27.623" v="9084" actId="14100"/>
          <ac:spMkLst>
            <pc:docMk/>
            <pc:sldMk cId="650411948" sldId="265"/>
            <ac:spMk id="8" creationId="{7D4CB53B-440D-43AA-97A4-B43AEFB0341D}"/>
          </ac:spMkLst>
        </pc:spChg>
        <pc:spChg chg="mod">
          <ac:chgData name="Joan Viladomiu Tora" userId="769a1043-f370-4a5b-a0e1-4e76db633912" providerId="ADAL" clId="{B72382DE-DD2E-41EE-B7A2-9D431A601203}" dt="2022-11-23T18:02:18.065" v="3713" actId="947"/>
          <ac:spMkLst>
            <pc:docMk/>
            <pc:sldMk cId="650411948" sldId="265"/>
            <ac:spMk id="13" creationId="{7B68527A-DA58-4AD3-9045-06C7B288A442}"/>
          </ac:spMkLst>
        </pc:spChg>
        <pc:spChg chg="mod">
          <ac:chgData name="Joan Viladomiu Tora" userId="769a1043-f370-4a5b-a0e1-4e76db633912" providerId="ADAL" clId="{B72382DE-DD2E-41EE-B7A2-9D431A601203}" dt="2022-11-23T23:33:27.623" v="9084" actId="14100"/>
          <ac:spMkLst>
            <pc:docMk/>
            <pc:sldMk cId="650411948" sldId="265"/>
            <ac:spMk id="14" creationId="{B5E336B9-ED1D-454B-BCCF-FC8CD5975228}"/>
          </ac:spMkLst>
        </pc:spChg>
        <pc:spChg chg="add del mod">
          <ac:chgData name="Joan Viladomiu Tora" userId="769a1043-f370-4a5b-a0e1-4e76db633912" providerId="ADAL" clId="{B72382DE-DD2E-41EE-B7A2-9D431A601203}" dt="2022-11-23T17:48:24.359" v="3141" actId="478"/>
          <ac:spMkLst>
            <pc:docMk/>
            <pc:sldMk cId="650411948" sldId="265"/>
            <ac:spMk id="15" creationId="{4980FDA6-0E2E-4DAE-B928-9FC7A822FC63}"/>
          </ac:spMkLst>
        </pc:spChg>
        <pc:spChg chg="mod topLvl">
          <ac:chgData name="Joan Viladomiu Tora" userId="769a1043-f370-4a5b-a0e1-4e76db633912" providerId="ADAL" clId="{B72382DE-DD2E-41EE-B7A2-9D431A601203}" dt="2022-11-23T18:02:18.051" v="3703" actId="947"/>
          <ac:spMkLst>
            <pc:docMk/>
            <pc:sldMk cId="650411948" sldId="265"/>
            <ac:spMk id="15" creationId="{A7E0C103-F1D2-4126-A0AE-98E6EE4F0CCE}"/>
          </ac:spMkLst>
        </pc:spChg>
        <pc:spChg chg="add mod">
          <ac:chgData name="Joan Viladomiu Tora" userId="769a1043-f370-4a5b-a0e1-4e76db633912" providerId="ADAL" clId="{B72382DE-DD2E-41EE-B7A2-9D431A601203}" dt="2022-11-23T18:11:07.643" v="4682" actId="114"/>
          <ac:spMkLst>
            <pc:docMk/>
            <pc:sldMk cId="650411948" sldId="265"/>
            <ac:spMk id="17" creationId="{5A173CE9-C5A9-44C7-94C1-5148588C74D1}"/>
          </ac:spMkLst>
        </pc:spChg>
        <pc:spChg chg="add mod">
          <ac:chgData name="Joan Viladomiu Tora" userId="769a1043-f370-4a5b-a0e1-4e76db633912" providerId="ADAL" clId="{B72382DE-DD2E-41EE-B7A2-9D431A601203}" dt="2022-11-23T18:02:18.039" v="3691" actId="947"/>
          <ac:spMkLst>
            <pc:docMk/>
            <pc:sldMk cId="650411948" sldId="265"/>
            <ac:spMk id="19" creationId="{01FE285D-8F4E-4C47-A5B2-62058810ADDE}"/>
          </ac:spMkLst>
        </pc:spChg>
        <pc:spChg chg="add del mod">
          <ac:chgData name="Joan Viladomiu Tora" userId="769a1043-f370-4a5b-a0e1-4e76db633912" providerId="ADAL" clId="{B72382DE-DD2E-41EE-B7A2-9D431A601203}" dt="2022-11-23T18:04:51.293" v="4550" actId="478"/>
          <ac:spMkLst>
            <pc:docMk/>
            <pc:sldMk cId="650411948" sldId="265"/>
            <ac:spMk id="23" creationId="{06BE92E2-3724-43CF-97AA-E14A1CCA5767}"/>
          </ac:spMkLst>
        </pc:spChg>
        <pc:spChg chg="mod topLvl">
          <ac:chgData name="Joan Viladomiu Tora" userId="769a1043-f370-4a5b-a0e1-4e76db633912" providerId="ADAL" clId="{B72382DE-DD2E-41EE-B7A2-9D431A601203}" dt="2022-11-23T23:33:27.623" v="9084" actId="14100"/>
          <ac:spMkLst>
            <pc:docMk/>
            <pc:sldMk cId="650411948" sldId="265"/>
            <ac:spMk id="24" creationId="{2B71ADF5-9050-424D-A067-A0111E2113C6}"/>
          </ac:spMkLst>
        </pc:spChg>
        <pc:spChg chg="add mod topLvl">
          <ac:chgData name="Joan Viladomiu Tora" userId="769a1043-f370-4a5b-a0e1-4e76db633912" providerId="ADAL" clId="{B72382DE-DD2E-41EE-B7A2-9D431A601203}" dt="2022-11-23T18:20:13.705" v="4787" actId="6549"/>
          <ac:spMkLst>
            <pc:docMk/>
            <pc:sldMk cId="650411948" sldId="265"/>
            <ac:spMk id="25" creationId="{C5927A2D-9540-40DB-A497-AE68B4C5C434}"/>
          </ac:spMkLst>
        </pc:spChg>
        <pc:spChg chg="add del mod">
          <ac:chgData name="Joan Viladomiu Tora" userId="769a1043-f370-4a5b-a0e1-4e76db633912" providerId="ADAL" clId="{B72382DE-DD2E-41EE-B7A2-9D431A601203}" dt="2022-11-23T18:20:17.198" v="4788" actId="478"/>
          <ac:spMkLst>
            <pc:docMk/>
            <pc:sldMk cId="650411948" sldId="265"/>
            <ac:spMk id="27" creationId="{9922327E-9DDF-46A4-8D7D-6F5708443B0D}"/>
          </ac:spMkLst>
        </pc:spChg>
        <pc:grpChg chg="del">
          <ac:chgData name="Joan Viladomiu Tora" userId="769a1043-f370-4a5b-a0e1-4e76db633912" providerId="ADAL" clId="{B72382DE-DD2E-41EE-B7A2-9D431A601203}" dt="2022-11-23T17:55:32.894" v="3382" actId="165"/>
          <ac:grpSpMkLst>
            <pc:docMk/>
            <pc:sldMk cId="650411948" sldId="265"/>
            <ac:grpSpMk id="3" creationId="{988DA0BD-9754-4615-87CF-B74A34704F34}"/>
          </ac:grpSpMkLst>
        </pc:grpChg>
        <pc:grpChg chg="add del mod">
          <ac:chgData name="Joan Viladomiu Tora" userId="769a1043-f370-4a5b-a0e1-4e76db633912" providerId="ADAL" clId="{B72382DE-DD2E-41EE-B7A2-9D431A601203}" dt="2022-11-23T18:15:03.275" v="4708" actId="165"/>
          <ac:grpSpMkLst>
            <pc:docMk/>
            <pc:sldMk cId="650411948" sldId="265"/>
            <ac:grpSpMk id="26" creationId="{92B1DE44-4874-4868-9F59-44020B480EC8}"/>
          </ac:grpSpMkLst>
        </pc:grpChg>
        <pc:graphicFrameChg chg="mod">
          <ac:chgData name="Joan Viladomiu Tora" userId="769a1043-f370-4a5b-a0e1-4e76db633912" providerId="ADAL" clId="{B72382DE-DD2E-41EE-B7A2-9D431A601203}" dt="2022-11-23T18:02:21.464" v="4519"/>
          <ac:graphicFrameMkLst>
            <pc:docMk/>
            <pc:sldMk cId="650411948" sldId="265"/>
            <ac:graphicFrameMk id="7" creationId="{0F736897-BFA9-41AC-9FCD-17A27AC24D30}"/>
          </ac:graphicFrameMkLst>
        </pc:graphicFrameChg>
        <pc:picChg chg="mod">
          <ac:chgData name="Joan Viladomiu Tora" userId="769a1043-f370-4a5b-a0e1-4e76db633912" providerId="ADAL" clId="{B72382DE-DD2E-41EE-B7A2-9D431A601203}" dt="2022-11-23T18:14:26.761" v="4700" actId="554"/>
          <ac:picMkLst>
            <pc:docMk/>
            <pc:sldMk cId="650411948" sldId="265"/>
            <ac:picMk id="10" creationId="{791B9BD6-BFA9-4333-B563-60292C7FB45A}"/>
          </ac:picMkLst>
        </pc:picChg>
        <pc:picChg chg="mod">
          <ac:chgData name="Joan Viladomiu Tora" userId="769a1043-f370-4a5b-a0e1-4e76db633912" providerId="ADAL" clId="{B72382DE-DD2E-41EE-B7A2-9D431A601203}" dt="2022-11-23T17:52:07.406" v="3350"/>
          <ac:picMkLst>
            <pc:docMk/>
            <pc:sldMk cId="650411948" sldId="265"/>
            <ac:picMk id="12" creationId="{1AFF6F8D-D0B3-4904-B9AA-40BEDF65AE2A}"/>
          </ac:picMkLst>
        </pc:picChg>
        <pc:picChg chg="mod">
          <ac:chgData name="Joan Viladomiu Tora" userId="769a1043-f370-4a5b-a0e1-4e76db633912" providerId="ADAL" clId="{B72382DE-DD2E-41EE-B7A2-9D431A601203}" dt="2022-11-23T18:05:30.546" v="4551" actId="14100"/>
          <ac:picMkLst>
            <pc:docMk/>
            <pc:sldMk cId="650411948" sldId="265"/>
            <ac:picMk id="16" creationId="{40098F37-8D30-4414-B42D-5D9E10A6D1FB}"/>
          </ac:picMkLst>
        </pc:picChg>
        <pc:picChg chg="mod">
          <ac:chgData name="Joan Viladomiu Tora" userId="769a1043-f370-4a5b-a0e1-4e76db633912" providerId="ADAL" clId="{B72382DE-DD2E-41EE-B7A2-9D431A601203}" dt="2022-11-23T18:14:26.761" v="4700" actId="554"/>
          <ac:picMkLst>
            <pc:docMk/>
            <pc:sldMk cId="650411948" sldId="265"/>
            <ac:picMk id="18" creationId="{B7EB6BC2-A2F2-4E7C-A707-A2FC40AF2868}"/>
          </ac:picMkLst>
        </pc:picChg>
      </pc:sldChg>
      <pc:sldChg chg="addSp delSp modSp add del mod ord modNotes">
        <pc:chgData name="Joan Viladomiu Tora" userId="769a1043-f370-4a5b-a0e1-4e76db633912" providerId="ADAL" clId="{B72382DE-DD2E-41EE-B7A2-9D431A601203}" dt="2022-11-23T18:43:21.954" v="5777" actId="47"/>
        <pc:sldMkLst>
          <pc:docMk/>
          <pc:sldMk cId="3784341845" sldId="266"/>
        </pc:sldMkLst>
        <pc:spChg chg="mod">
          <ac:chgData name="Joan Viladomiu Tora" userId="769a1043-f370-4a5b-a0e1-4e76db633912" providerId="ADAL" clId="{B72382DE-DD2E-41EE-B7A2-9D431A601203}" dt="2022-11-23T18:02:20.408" v="4476" actId="948"/>
          <ac:spMkLst>
            <pc:docMk/>
            <pc:sldMk cId="3784341845" sldId="266"/>
            <ac:spMk id="2" creationId="{9AB591CE-E7CD-4793-B511-01EEF4704C68}"/>
          </ac:spMkLst>
        </pc:spChg>
        <pc:spChg chg="mod">
          <ac:chgData name="Joan Viladomiu Tora" userId="769a1043-f370-4a5b-a0e1-4e76db633912" providerId="ADAL" clId="{B72382DE-DD2E-41EE-B7A2-9D431A601203}" dt="2022-11-23T18:30:53.172" v="5317" actId="120"/>
          <ac:spMkLst>
            <pc:docMk/>
            <pc:sldMk cId="3784341845" sldId="266"/>
            <ac:spMk id="3" creationId="{F14C9F00-3A9E-4C5B-BBF6-F86B97E2E984}"/>
          </ac:spMkLst>
        </pc:spChg>
        <pc:spChg chg="del mod">
          <ac:chgData name="Joan Viladomiu Tora" userId="769a1043-f370-4a5b-a0e1-4e76db633912" providerId="ADAL" clId="{B72382DE-DD2E-41EE-B7A2-9D431A601203}" dt="2022-11-23T17:56:04.120" v="3385" actId="478"/>
          <ac:spMkLst>
            <pc:docMk/>
            <pc:sldMk cId="3784341845" sldId="266"/>
            <ac:spMk id="4" creationId="{392DC524-ED47-43E5-AB29-FC6934A0BD14}"/>
          </ac:spMkLst>
        </pc:spChg>
        <pc:spChg chg="del mod">
          <ac:chgData name="Joan Viladomiu Tora" userId="769a1043-f370-4a5b-a0e1-4e76db633912" providerId="ADAL" clId="{B72382DE-DD2E-41EE-B7A2-9D431A601203}" dt="2022-11-23T17:56:04.120" v="3385" actId="478"/>
          <ac:spMkLst>
            <pc:docMk/>
            <pc:sldMk cId="3784341845" sldId="266"/>
            <ac:spMk id="5" creationId="{58E72ED5-6DEA-4E02-924F-08425D78FBA9}"/>
          </ac:spMkLst>
        </pc:spChg>
        <pc:spChg chg="del mod">
          <ac:chgData name="Joan Viladomiu Tora" userId="769a1043-f370-4a5b-a0e1-4e76db633912" providerId="ADAL" clId="{B72382DE-DD2E-41EE-B7A2-9D431A601203}" dt="2022-11-23T17:56:04.120" v="3385" actId="478"/>
          <ac:spMkLst>
            <pc:docMk/>
            <pc:sldMk cId="3784341845" sldId="266"/>
            <ac:spMk id="6" creationId="{729B4F23-6E73-4CA6-81B1-72E7D1FD79B5}"/>
          </ac:spMkLst>
        </pc:spChg>
        <pc:spChg chg="del mod">
          <ac:chgData name="Joan Viladomiu Tora" userId="769a1043-f370-4a5b-a0e1-4e76db633912" providerId="ADAL" clId="{B72382DE-DD2E-41EE-B7A2-9D431A601203}" dt="2022-11-23T17:56:04.120" v="3385" actId="478"/>
          <ac:spMkLst>
            <pc:docMk/>
            <pc:sldMk cId="3784341845" sldId="266"/>
            <ac:spMk id="8" creationId="{7D4CB53B-440D-43AA-97A4-B43AEFB0341D}"/>
          </ac:spMkLst>
        </pc:spChg>
        <pc:spChg chg="del mod">
          <ac:chgData name="Joan Viladomiu Tora" userId="769a1043-f370-4a5b-a0e1-4e76db633912" providerId="ADAL" clId="{B72382DE-DD2E-41EE-B7A2-9D431A601203}" dt="2022-11-23T17:56:04.120" v="3385" actId="478"/>
          <ac:spMkLst>
            <pc:docMk/>
            <pc:sldMk cId="3784341845" sldId="266"/>
            <ac:spMk id="13" creationId="{7B68527A-DA58-4AD3-9045-06C7B288A442}"/>
          </ac:spMkLst>
        </pc:spChg>
        <pc:spChg chg="del mod">
          <ac:chgData name="Joan Viladomiu Tora" userId="769a1043-f370-4a5b-a0e1-4e76db633912" providerId="ADAL" clId="{B72382DE-DD2E-41EE-B7A2-9D431A601203}" dt="2022-11-23T17:56:04.120" v="3385" actId="478"/>
          <ac:spMkLst>
            <pc:docMk/>
            <pc:sldMk cId="3784341845" sldId="266"/>
            <ac:spMk id="14" creationId="{B5E336B9-ED1D-454B-BCCF-FC8CD5975228}"/>
          </ac:spMkLst>
        </pc:spChg>
        <pc:spChg chg="mod">
          <ac:chgData name="Joan Viladomiu Tora" userId="769a1043-f370-4a5b-a0e1-4e76db633912" providerId="ADAL" clId="{B72382DE-DD2E-41EE-B7A2-9D431A601203}" dt="2022-11-23T18:30:53.172" v="5317" actId="120"/>
          <ac:spMkLst>
            <pc:docMk/>
            <pc:sldMk cId="3784341845" sldId="266"/>
            <ac:spMk id="15" creationId="{B36E7234-2C46-48EB-8396-5561CEE30719}"/>
          </ac:spMkLst>
        </pc:spChg>
        <pc:spChg chg="mod">
          <ac:chgData name="Joan Viladomiu Tora" userId="769a1043-f370-4a5b-a0e1-4e76db633912" providerId="ADAL" clId="{B72382DE-DD2E-41EE-B7A2-9D431A601203}" dt="2022-11-23T18:30:53.172" v="5317" actId="120"/>
          <ac:spMkLst>
            <pc:docMk/>
            <pc:sldMk cId="3784341845" sldId="266"/>
            <ac:spMk id="16" creationId="{25CE0F25-FB00-4F16-8785-DB700198EF7F}"/>
          </ac:spMkLst>
        </pc:spChg>
        <pc:spChg chg="add del mod">
          <ac:chgData name="Joan Viladomiu Tora" userId="769a1043-f370-4a5b-a0e1-4e76db633912" providerId="ADAL" clId="{B72382DE-DD2E-41EE-B7A2-9D431A601203}" dt="2022-11-23T18:21:48.092" v="4821"/>
          <ac:spMkLst>
            <pc:docMk/>
            <pc:sldMk cId="3784341845" sldId="266"/>
            <ac:spMk id="20" creationId="{4D1EBEF2-6627-4B0A-A224-0D3D30F0BFE1}"/>
          </ac:spMkLst>
        </pc:spChg>
        <pc:spChg chg="add del mod">
          <ac:chgData name="Joan Viladomiu Tora" userId="769a1043-f370-4a5b-a0e1-4e76db633912" providerId="ADAL" clId="{B72382DE-DD2E-41EE-B7A2-9D431A601203}" dt="2022-11-23T18:22:30.663" v="4826" actId="478"/>
          <ac:spMkLst>
            <pc:docMk/>
            <pc:sldMk cId="3784341845" sldId="266"/>
            <ac:spMk id="22" creationId="{F8C73070-3E2F-4F31-AB0F-5B234B724033}"/>
          </ac:spMkLst>
        </pc:spChg>
        <pc:spChg chg="add del mod">
          <ac:chgData name="Joan Viladomiu Tora" userId="769a1043-f370-4a5b-a0e1-4e76db633912" providerId="ADAL" clId="{B72382DE-DD2E-41EE-B7A2-9D431A601203}" dt="2022-11-23T18:22:30.663" v="4826" actId="478"/>
          <ac:spMkLst>
            <pc:docMk/>
            <pc:sldMk cId="3784341845" sldId="266"/>
            <ac:spMk id="24" creationId="{0E306546-2145-4EE1-9D15-92B31D5118F1}"/>
          </ac:spMkLst>
        </pc:spChg>
        <pc:spChg chg="add del mod">
          <ac:chgData name="Joan Viladomiu Tora" userId="769a1043-f370-4a5b-a0e1-4e76db633912" providerId="ADAL" clId="{B72382DE-DD2E-41EE-B7A2-9D431A601203}" dt="2022-11-23T18:22:30.663" v="4826" actId="478"/>
          <ac:spMkLst>
            <pc:docMk/>
            <pc:sldMk cId="3784341845" sldId="266"/>
            <ac:spMk id="25" creationId="{CB59F80E-62D1-4446-A370-660EBE8A37BD}"/>
          </ac:spMkLst>
        </pc:spChg>
        <pc:spChg chg="add del mod">
          <ac:chgData name="Joan Viladomiu Tora" userId="769a1043-f370-4a5b-a0e1-4e76db633912" providerId="ADAL" clId="{B72382DE-DD2E-41EE-B7A2-9D431A601203}" dt="2022-11-23T18:22:30.663" v="4826" actId="478"/>
          <ac:spMkLst>
            <pc:docMk/>
            <pc:sldMk cId="3784341845" sldId="266"/>
            <ac:spMk id="26" creationId="{73400875-B77A-4806-B85F-8F013425B448}"/>
          </ac:spMkLst>
        </pc:spChg>
        <pc:grpChg chg="mod">
          <ac:chgData name="Joan Viladomiu Tora" userId="769a1043-f370-4a5b-a0e1-4e76db633912" providerId="ADAL" clId="{B72382DE-DD2E-41EE-B7A2-9D431A601203}" dt="2022-11-23T17:50:11.325" v="3144"/>
          <ac:grpSpMkLst>
            <pc:docMk/>
            <pc:sldMk cId="3784341845" sldId="266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B72382DE-DD2E-41EE-B7A2-9D431A601203}" dt="2022-11-23T18:02:20.580" v="4515" actId="1076"/>
          <ac:graphicFrameMkLst>
            <pc:docMk/>
            <pc:sldMk cId="3784341845" sldId="266"/>
            <ac:graphicFrameMk id="7" creationId="{0F736897-BFA9-41AC-9FCD-17A27AC24D30}"/>
          </ac:graphicFrameMkLst>
        </pc:graphicFrameChg>
        <pc:picChg chg="add del">
          <ac:chgData name="Joan Viladomiu Tora" userId="769a1043-f370-4a5b-a0e1-4e76db633912" providerId="ADAL" clId="{B72382DE-DD2E-41EE-B7A2-9D431A601203}" dt="2022-11-23T18:21:49.904" v="4823"/>
          <ac:picMkLst>
            <pc:docMk/>
            <pc:sldMk cId="3784341845" sldId="266"/>
            <ac:picMk id="9" creationId="{EB5FB5AC-2031-4AEA-B91B-1DD09375A389}"/>
          </ac:picMkLst>
        </pc:picChg>
        <pc:picChg chg="del mod">
          <ac:chgData name="Joan Viladomiu Tora" userId="769a1043-f370-4a5b-a0e1-4e76db633912" providerId="ADAL" clId="{B72382DE-DD2E-41EE-B7A2-9D431A601203}" dt="2022-11-23T17:56:04.120" v="3385" actId="478"/>
          <ac:picMkLst>
            <pc:docMk/>
            <pc:sldMk cId="3784341845" sldId="266"/>
            <ac:picMk id="10" creationId="{791B9BD6-BFA9-4333-B563-60292C7FB45A}"/>
          </ac:picMkLst>
        </pc:picChg>
        <pc:picChg chg="del mod">
          <ac:chgData name="Joan Viladomiu Tora" userId="769a1043-f370-4a5b-a0e1-4e76db633912" providerId="ADAL" clId="{B72382DE-DD2E-41EE-B7A2-9D431A601203}" dt="2022-11-23T17:56:04.120" v="3385" actId="478"/>
          <ac:picMkLst>
            <pc:docMk/>
            <pc:sldMk cId="3784341845" sldId="266"/>
            <ac:picMk id="11" creationId="{AB553657-D0A2-4E77-8F77-FD64BF026030}"/>
          </ac:picMkLst>
        </pc:picChg>
        <pc:picChg chg="del mod">
          <ac:chgData name="Joan Viladomiu Tora" userId="769a1043-f370-4a5b-a0e1-4e76db633912" providerId="ADAL" clId="{B72382DE-DD2E-41EE-B7A2-9D431A601203}" dt="2022-11-23T17:56:04.120" v="3385" actId="478"/>
          <ac:picMkLst>
            <pc:docMk/>
            <pc:sldMk cId="3784341845" sldId="266"/>
            <ac:picMk id="12" creationId="{1AFF6F8D-D0B3-4904-B9AA-40BEDF65AE2A}"/>
          </ac:picMkLst>
        </pc:picChg>
        <pc:picChg chg="mod">
          <ac:chgData name="Joan Viladomiu Tora" userId="769a1043-f370-4a5b-a0e1-4e76db633912" providerId="ADAL" clId="{B72382DE-DD2E-41EE-B7A2-9D431A601203}" dt="2022-11-23T18:13:49.048" v="4699" actId="465"/>
          <ac:picMkLst>
            <pc:docMk/>
            <pc:sldMk cId="3784341845" sldId="266"/>
            <ac:picMk id="19" creationId="{3F5C019E-9C06-47E2-8A4D-BE6125E43874}"/>
          </ac:picMkLst>
        </pc:picChg>
      </pc:sldChg>
      <pc:sldChg chg="addSp delSp modSp add del mod ord modTransition modShow modNotes">
        <pc:chgData name="Joan Viladomiu Tora" userId="769a1043-f370-4a5b-a0e1-4e76db633912" providerId="ADAL" clId="{B72382DE-DD2E-41EE-B7A2-9D431A601203}" dt="2022-11-24T12:45:33.329" v="13263" actId="47"/>
        <pc:sldMkLst>
          <pc:docMk/>
          <pc:sldMk cId="3533722340" sldId="267"/>
        </pc:sldMkLst>
        <pc:spChg chg="mod ord">
          <ac:chgData name="Joan Viladomiu Tora" userId="769a1043-f370-4a5b-a0e1-4e76db633912" providerId="ADAL" clId="{B72382DE-DD2E-41EE-B7A2-9D431A601203}" dt="2022-11-24T12:33:29.981" v="12965" actId="948"/>
          <ac:spMkLst>
            <pc:docMk/>
            <pc:sldMk cId="3533722340" sldId="267"/>
            <ac:spMk id="2" creationId="{9AB591CE-E7CD-4793-B511-01EEF4704C68}"/>
          </ac:spMkLst>
        </pc:spChg>
        <pc:spChg chg="add del mod modVis">
          <ac:chgData name="Joan Viladomiu Tora" userId="769a1043-f370-4a5b-a0e1-4e76db633912" providerId="ADAL" clId="{B72382DE-DD2E-41EE-B7A2-9D431A601203}" dt="2022-11-23T17:50:33.887" v="3220"/>
          <ac:spMkLst>
            <pc:docMk/>
            <pc:sldMk cId="3533722340" sldId="267"/>
            <ac:spMk id="3" creationId="{30986E15-3BBC-4AAB-B96A-39FDF9ABB85C}"/>
          </ac:spMkLst>
        </pc:spChg>
        <pc:spChg chg="add mod ord">
          <ac:chgData name="Joan Viladomiu Tora" userId="769a1043-f370-4a5b-a0e1-4e76db633912" providerId="ADAL" clId="{B72382DE-DD2E-41EE-B7A2-9D431A601203}" dt="2022-11-24T12:39:14.436" v="13172" actId="1076"/>
          <ac:spMkLst>
            <pc:docMk/>
            <pc:sldMk cId="3533722340" sldId="267"/>
            <ac:spMk id="3" creationId="{34E63D2C-AEFB-4854-8755-E9E273E6802F}"/>
          </ac:spMkLst>
        </pc:spChg>
        <pc:spChg chg="add del mod modVis">
          <ac:chgData name="Joan Viladomiu Tora" userId="769a1043-f370-4a5b-a0e1-4e76db633912" providerId="ADAL" clId="{B72382DE-DD2E-41EE-B7A2-9D431A601203}" dt="2022-11-23T23:48:58.118" v="9597"/>
          <ac:spMkLst>
            <pc:docMk/>
            <pc:sldMk cId="3533722340" sldId="267"/>
            <ac:spMk id="3" creationId="{FEDC6596-6D3B-4F23-8E68-421F2E738C59}"/>
          </ac:spMkLst>
        </pc:spChg>
        <pc:spChg chg="del mod">
          <ac:chgData name="Joan Viladomiu Tora" userId="769a1043-f370-4a5b-a0e1-4e76db633912" providerId="ADAL" clId="{B72382DE-DD2E-41EE-B7A2-9D431A601203}" dt="2022-11-23T17:56:09.781" v="3386" actId="478"/>
          <ac:spMkLst>
            <pc:docMk/>
            <pc:sldMk cId="3533722340" sldId="267"/>
            <ac:spMk id="4" creationId="{392DC524-ED47-43E5-AB29-FC6934A0BD14}"/>
          </ac:spMkLst>
        </pc:spChg>
        <pc:spChg chg="add del mod modVis">
          <ac:chgData name="Joan Viladomiu Tora" userId="769a1043-f370-4a5b-a0e1-4e76db633912" providerId="ADAL" clId="{B72382DE-DD2E-41EE-B7A2-9D431A601203}" dt="2022-11-23T23:48:59.853" v="9640"/>
          <ac:spMkLst>
            <pc:docMk/>
            <pc:sldMk cId="3533722340" sldId="267"/>
            <ac:spMk id="4" creationId="{4BFF08D0-0179-45E4-A199-51BBADDBDC0C}"/>
          </ac:spMkLst>
        </pc:spChg>
        <pc:spChg chg="add mod ord">
          <ac:chgData name="Joan Viladomiu Tora" userId="769a1043-f370-4a5b-a0e1-4e76db633912" providerId="ADAL" clId="{B72382DE-DD2E-41EE-B7A2-9D431A601203}" dt="2022-11-24T12:39:14.436" v="13172" actId="1076"/>
          <ac:spMkLst>
            <pc:docMk/>
            <pc:sldMk cId="3533722340" sldId="267"/>
            <ac:spMk id="4" creationId="{60114289-F104-48A6-960B-292F1448429A}"/>
          </ac:spMkLst>
        </pc:spChg>
        <pc:spChg chg="del mod">
          <ac:chgData name="Joan Viladomiu Tora" userId="769a1043-f370-4a5b-a0e1-4e76db633912" providerId="ADAL" clId="{B72382DE-DD2E-41EE-B7A2-9D431A601203}" dt="2022-11-23T17:56:09.781" v="3386" actId="478"/>
          <ac:spMkLst>
            <pc:docMk/>
            <pc:sldMk cId="3533722340" sldId="267"/>
            <ac:spMk id="5" creationId="{58E72ED5-6DEA-4E02-924F-08425D78FBA9}"/>
          </ac:spMkLst>
        </pc:spChg>
        <pc:spChg chg="add del mod ord">
          <ac:chgData name="Joan Viladomiu Tora" userId="769a1043-f370-4a5b-a0e1-4e76db633912" providerId="ADAL" clId="{B72382DE-DD2E-41EE-B7A2-9D431A601203}" dt="2022-11-24T12:42:57.544" v="13210" actId="478"/>
          <ac:spMkLst>
            <pc:docMk/>
            <pc:sldMk cId="3533722340" sldId="267"/>
            <ac:spMk id="5" creationId="{F4FD2A65-820F-4A84-8B37-32703528B3F9}"/>
          </ac:spMkLst>
        </pc:spChg>
        <pc:spChg chg="del mod">
          <ac:chgData name="Joan Viladomiu Tora" userId="769a1043-f370-4a5b-a0e1-4e76db633912" providerId="ADAL" clId="{B72382DE-DD2E-41EE-B7A2-9D431A601203}" dt="2022-11-23T17:56:09.781" v="3386" actId="478"/>
          <ac:spMkLst>
            <pc:docMk/>
            <pc:sldMk cId="3533722340" sldId="267"/>
            <ac:spMk id="6" creationId="{729B4F23-6E73-4CA6-81B1-72E7D1FD79B5}"/>
          </ac:spMkLst>
        </pc:spChg>
        <pc:spChg chg="add del mod modVis">
          <ac:chgData name="Joan Viladomiu Tora" userId="769a1043-f370-4a5b-a0e1-4e76db633912" providerId="ADAL" clId="{B72382DE-DD2E-41EE-B7A2-9D431A601203}" dt="2022-11-24T11:08:50.990" v="10582"/>
          <ac:spMkLst>
            <pc:docMk/>
            <pc:sldMk cId="3533722340" sldId="267"/>
            <ac:spMk id="6" creationId="{E1A2F74D-805B-4631-B8EC-56267465A9B1}"/>
          </ac:spMkLst>
        </pc:spChg>
        <pc:spChg chg="add del mod">
          <ac:chgData name="Joan Viladomiu Tora" userId="769a1043-f370-4a5b-a0e1-4e76db633912" providerId="ADAL" clId="{B72382DE-DD2E-41EE-B7A2-9D431A601203}" dt="2022-11-23T23:49:03.193" v="9643" actId="478"/>
          <ac:spMkLst>
            <pc:docMk/>
            <pc:sldMk cId="3533722340" sldId="267"/>
            <ac:spMk id="6" creationId="{E7CEDB30-0DF7-4E2E-89CB-AF00ACFE8D5F}"/>
          </ac:spMkLst>
        </pc:spChg>
        <pc:spChg chg="add del mod ord">
          <ac:chgData name="Joan Viladomiu Tora" userId="769a1043-f370-4a5b-a0e1-4e76db633912" providerId="ADAL" clId="{B72382DE-DD2E-41EE-B7A2-9D431A601203}" dt="2022-11-24T11:39:36.790" v="10794" actId="478"/>
          <ac:spMkLst>
            <pc:docMk/>
            <pc:sldMk cId="3533722340" sldId="267"/>
            <ac:spMk id="8" creationId="{5504B3F0-162C-4613-8882-C651EEA081FF}"/>
          </ac:spMkLst>
        </pc:spChg>
        <pc:spChg chg="del mod">
          <ac:chgData name="Joan Viladomiu Tora" userId="769a1043-f370-4a5b-a0e1-4e76db633912" providerId="ADAL" clId="{B72382DE-DD2E-41EE-B7A2-9D431A601203}" dt="2022-11-23T17:56:09.781" v="3386" actId="478"/>
          <ac:spMkLst>
            <pc:docMk/>
            <pc:sldMk cId="3533722340" sldId="267"/>
            <ac:spMk id="8" creationId="{7D4CB53B-440D-43AA-97A4-B43AEFB0341D}"/>
          </ac:spMkLst>
        </pc:spChg>
        <pc:spChg chg="add del mod modVis">
          <ac:chgData name="Joan Viladomiu Tora" userId="769a1043-f370-4a5b-a0e1-4e76db633912" providerId="ADAL" clId="{B72382DE-DD2E-41EE-B7A2-9D431A601203}" dt="2022-11-23T17:50:35.991" v="3270"/>
          <ac:spMkLst>
            <pc:docMk/>
            <pc:sldMk cId="3533722340" sldId="267"/>
            <ac:spMk id="9" creationId="{391F7D54-FCEB-452B-BAF5-04B7499B229C}"/>
          </ac:spMkLst>
        </pc:spChg>
        <pc:spChg chg="add mod ord">
          <ac:chgData name="Joan Viladomiu Tora" userId="769a1043-f370-4a5b-a0e1-4e76db633912" providerId="ADAL" clId="{B72382DE-DD2E-41EE-B7A2-9D431A601203}" dt="2022-11-24T12:39:39.676" v="13178" actId="1076"/>
          <ac:spMkLst>
            <pc:docMk/>
            <pc:sldMk cId="3533722340" sldId="267"/>
            <ac:spMk id="9" creationId="{FD0277FC-C43B-4BC5-A47A-1E9DA33CE5EB}"/>
          </ac:spMkLst>
        </pc:spChg>
        <pc:spChg chg="add del mod ord">
          <ac:chgData name="Joan Viladomiu Tora" userId="769a1043-f370-4a5b-a0e1-4e76db633912" providerId="ADAL" clId="{B72382DE-DD2E-41EE-B7A2-9D431A601203}" dt="2022-11-24T11:39:45.283" v="10796" actId="478"/>
          <ac:spMkLst>
            <pc:docMk/>
            <pc:sldMk cId="3533722340" sldId="267"/>
            <ac:spMk id="10" creationId="{97EFA61D-9228-4645-8C35-585B96A389B4}"/>
          </ac:spMkLst>
        </pc:spChg>
        <pc:spChg chg="add del mod ord">
          <ac:chgData name="Joan Viladomiu Tora" userId="769a1043-f370-4a5b-a0e1-4e76db633912" providerId="ADAL" clId="{B72382DE-DD2E-41EE-B7A2-9D431A601203}" dt="2022-11-24T11:39:55.006" v="10799" actId="478"/>
          <ac:spMkLst>
            <pc:docMk/>
            <pc:sldMk cId="3533722340" sldId="267"/>
            <ac:spMk id="11" creationId="{C42A9118-8602-4E1B-8103-DB8839100FEB}"/>
          </ac:spMkLst>
        </pc:spChg>
        <pc:spChg chg="add mod ord">
          <ac:chgData name="Joan Viladomiu Tora" userId="769a1043-f370-4a5b-a0e1-4e76db633912" providerId="ADAL" clId="{B72382DE-DD2E-41EE-B7A2-9D431A601203}" dt="2022-11-24T12:39:14.436" v="13172" actId="1076"/>
          <ac:spMkLst>
            <pc:docMk/>
            <pc:sldMk cId="3533722340" sldId="267"/>
            <ac:spMk id="12" creationId="{2A2EE942-E75A-454E-B8DD-66B56B4F5E4D}"/>
          </ac:spMkLst>
        </pc:spChg>
        <pc:spChg chg="del mod">
          <ac:chgData name="Joan Viladomiu Tora" userId="769a1043-f370-4a5b-a0e1-4e76db633912" providerId="ADAL" clId="{B72382DE-DD2E-41EE-B7A2-9D431A601203}" dt="2022-11-23T17:56:09.781" v="3386" actId="478"/>
          <ac:spMkLst>
            <pc:docMk/>
            <pc:sldMk cId="3533722340" sldId="267"/>
            <ac:spMk id="13" creationId="{7B68527A-DA58-4AD3-9045-06C7B288A442}"/>
          </ac:spMkLst>
        </pc:spChg>
        <pc:spChg chg="add del mod">
          <ac:chgData name="Joan Viladomiu Tora" userId="769a1043-f370-4a5b-a0e1-4e76db633912" providerId="ADAL" clId="{B72382DE-DD2E-41EE-B7A2-9D431A601203}" dt="2022-11-24T11:06:15.849" v="10372" actId="478"/>
          <ac:spMkLst>
            <pc:docMk/>
            <pc:sldMk cId="3533722340" sldId="267"/>
            <ac:spMk id="13" creationId="{A656AF92-0618-4A5D-B39F-5FCE948FC844}"/>
          </ac:spMkLst>
        </pc:spChg>
        <pc:spChg chg="add mod ord">
          <ac:chgData name="Joan Viladomiu Tora" userId="769a1043-f370-4a5b-a0e1-4e76db633912" providerId="ADAL" clId="{B72382DE-DD2E-41EE-B7A2-9D431A601203}" dt="2022-11-24T12:39:14.436" v="13172" actId="1076"/>
          <ac:spMkLst>
            <pc:docMk/>
            <pc:sldMk cId="3533722340" sldId="267"/>
            <ac:spMk id="14" creationId="{7B5E3FB7-87E8-4CCE-9672-B3327E9364D7}"/>
          </ac:spMkLst>
        </pc:spChg>
        <pc:spChg chg="del mod">
          <ac:chgData name="Joan Viladomiu Tora" userId="769a1043-f370-4a5b-a0e1-4e76db633912" providerId="ADAL" clId="{B72382DE-DD2E-41EE-B7A2-9D431A601203}" dt="2022-11-23T17:56:09.781" v="3386" actId="478"/>
          <ac:spMkLst>
            <pc:docMk/>
            <pc:sldMk cId="3533722340" sldId="267"/>
            <ac:spMk id="14" creationId="{B5E336B9-ED1D-454B-BCCF-FC8CD5975228}"/>
          </ac:spMkLst>
        </pc:spChg>
        <pc:spChg chg="add del mod modVis">
          <ac:chgData name="Joan Viladomiu Tora" userId="769a1043-f370-4a5b-a0e1-4e76db633912" providerId="ADAL" clId="{B72382DE-DD2E-41EE-B7A2-9D431A601203}" dt="2022-11-23T17:50:38.462" v="3313"/>
          <ac:spMkLst>
            <pc:docMk/>
            <pc:sldMk cId="3533722340" sldId="267"/>
            <ac:spMk id="15" creationId="{2AB247ED-AE42-4001-897C-377CAC8ABC5A}"/>
          </ac:spMkLst>
        </pc:spChg>
        <pc:spChg chg="add mod ord">
          <ac:chgData name="Joan Viladomiu Tora" userId="769a1043-f370-4a5b-a0e1-4e76db633912" providerId="ADAL" clId="{B72382DE-DD2E-41EE-B7A2-9D431A601203}" dt="2022-11-24T12:39:39.676" v="13178" actId="1076"/>
          <ac:spMkLst>
            <pc:docMk/>
            <pc:sldMk cId="3533722340" sldId="267"/>
            <ac:spMk id="16" creationId="{0EC3FD25-2832-4659-8669-1F310E646245}"/>
          </ac:spMkLst>
        </pc:spChg>
        <pc:spChg chg="del mod modVis">
          <ac:chgData name="Joan Viladomiu Tora" userId="769a1043-f370-4a5b-a0e1-4e76db633912" providerId="ADAL" clId="{B72382DE-DD2E-41EE-B7A2-9D431A601203}" dt="2022-11-23T18:02:20.567" v="4513" actId="478"/>
          <ac:spMkLst>
            <pc:docMk/>
            <pc:sldMk cId="3533722340" sldId="267"/>
            <ac:spMk id="16" creationId="{4F275F25-B5F0-43D0-95FB-886F3BAD68D1}"/>
          </ac:spMkLst>
        </pc:spChg>
        <pc:spChg chg="mod ord">
          <ac:chgData name="Joan Viladomiu Tora" userId="769a1043-f370-4a5b-a0e1-4e76db633912" providerId="ADAL" clId="{B72382DE-DD2E-41EE-B7A2-9D431A601203}" dt="2022-11-24T12:06:36.364" v="11586"/>
          <ac:spMkLst>
            <pc:docMk/>
            <pc:sldMk cId="3533722340" sldId="267"/>
            <ac:spMk id="17" creationId="{B4CA9A8E-E978-4055-AEEB-A94B7C4A4DD0}"/>
          </ac:spMkLst>
        </pc:spChg>
        <pc:spChg chg="add del mod">
          <ac:chgData name="Joan Viladomiu Tora" userId="769a1043-f370-4a5b-a0e1-4e76db633912" providerId="ADAL" clId="{B72382DE-DD2E-41EE-B7A2-9D431A601203}" dt="2022-11-24T11:39:17.441" v="10787" actId="478"/>
          <ac:spMkLst>
            <pc:docMk/>
            <pc:sldMk cId="3533722340" sldId="267"/>
            <ac:spMk id="18" creationId="{5F803FC3-17CA-4FB0-B4B5-1C1151252C86}"/>
          </ac:spMkLst>
        </pc:spChg>
        <pc:spChg chg="add mod ord">
          <ac:chgData name="Joan Viladomiu Tora" userId="769a1043-f370-4a5b-a0e1-4e76db633912" providerId="ADAL" clId="{B72382DE-DD2E-41EE-B7A2-9D431A601203}" dt="2022-11-24T12:39:39.676" v="13178" actId="1076"/>
          <ac:spMkLst>
            <pc:docMk/>
            <pc:sldMk cId="3533722340" sldId="267"/>
            <ac:spMk id="19" creationId="{0B9CC083-2B36-42B8-B61C-32358B623C83}"/>
          </ac:spMkLst>
        </pc:spChg>
        <pc:spChg chg="add mod ord">
          <ac:chgData name="Joan Viladomiu Tora" userId="769a1043-f370-4a5b-a0e1-4e76db633912" providerId="ADAL" clId="{B72382DE-DD2E-41EE-B7A2-9D431A601203}" dt="2022-11-24T12:39:39.676" v="13178" actId="1076"/>
          <ac:spMkLst>
            <pc:docMk/>
            <pc:sldMk cId="3533722340" sldId="267"/>
            <ac:spMk id="20" creationId="{A828A9A6-3A07-4D2B-A810-BED23D755F21}"/>
          </ac:spMkLst>
        </pc:spChg>
        <pc:spChg chg="del mod topLvl">
          <ac:chgData name="Joan Viladomiu Tora" userId="769a1043-f370-4a5b-a0e1-4e76db633912" providerId="ADAL" clId="{B72382DE-DD2E-41EE-B7A2-9D431A601203}" dt="2022-11-24T11:44:45.715" v="10850" actId="478"/>
          <ac:spMkLst>
            <pc:docMk/>
            <pc:sldMk cId="3533722340" sldId="267"/>
            <ac:spMk id="23" creationId="{79D7638D-EC5E-4158-8F59-261D49503B35}"/>
          </ac:spMkLst>
        </pc:spChg>
        <pc:spChg chg="add mod ord">
          <ac:chgData name="Joan Viladomiu Tora" userId="769a1043-f370-4a5b-a0e1-4e76db633912" providerId="ADAL" clId="{B72382DE-DD2E-41EE-B7A2-9D431A601203}" dt="2022-11-24T12:06:36.364" v="11608"/>
          <ac:spMkLst>
            <pc:docMk/>
            <pc:sldMk cId="3533722340" sldId="267"/>
            <ac:spMk id="25" creationId="{D610286F-8F5A-4E2B-ACA1-B7C7E890C5B7}"/>
          </ac:spMkLst>
        </pc:spChg>
        <pc:spChg chg="add mod">
          <ac:chgData name="Joan Viladomiu Tora" userId="769a1043-f370-4a5b-a0e1-4e76db633912" providerId="ADAL" clId="{B72382DE-DD2E-41EE-B7A2-9D431A601203}" dt="2022-11-24T11:56:13.243" v="11158" actId="571"/>
          <ac:spMkLst>
            <pc:docMk/>
            <pc:sldMk cId="3533722340" sldId="267"/>
            <ac:spMk id="26" creationId="{A2F4C1A1-F5BB-4432-BFF3-020EE3A3FC26}"/>
          </ac:spMkLst>
        </pc:spChg>
        <pc:spChg chg="add mod ord">
          <ac:chgData name="Joan Viladomiu Tora" userId="769a1043-f370-4a5b-a0e1-4e76db633912" providerId="ADAL" clId="{B72382DE-DD2E-41EE-B7A2-9D431A601203}" dt="2022-11-24T12:41:54.157" v="13201" actId="120"/>
          <ac:spMkLst>
            <pc:docMk/>
            <pc:sldMk cId="3533722340" sldId="267"/>
            <ac:spMk id="27" creationId="{70B93D4B-BE7D-4BED-B867-CA3D1D0486CD}"/>
          </ac:spMkLst>
        </pc:spChg>
        <pc:spChg chg="add mod ord">
          <ac:chgData name="Joan Viladomiu Tora" userId="769a1043-f370-4a5b-a0e1-4e76db633912" providerId="ADAL" clId="{B72382DE-DD2E-41EE-B7A2-9D431A601203}" dt="2022-11-24T12:41:39.414" v="13199" actId="12789"/>
          <ac:spMkLst>
            <pc:docMk/>
            <pc:sldMk cId="3533722340" sldId="267"/>
            <ac:spMk id="28" creationId="{7D839E22-B395-493F-98FB-29AD84771F61}"/>
          </ac:spMkLst>
        </pc:spChg>
        <pc:spChg chg="add mod ord">
          <ac:chgData name="Joan Viladomiu Tora" userId="769a1043-f370-4a5b-a0e1-4e76db633912" providerId="ADAL" clId="{B72382DE-DD2E-41EE-B7A2-9D431A601203}" dt="2022-11-24T12:06:36.364" v="11614"/>
          <ac:spMkLst>
            <pc:docMk/>
            <pc:sldMk cId="3533722340" sldId="267"/>
            <ac:spMk id="29" creationId="{FBEFC316-6569-4FA2-B596-0183F5054ACA}"/>
          </ac:spMkLst>
        </pc:spChg>
        <pc:spChg chg="add mod ord">
          <ac:chgData name="Joan Viladomiu Tora" userId="769a1043-f370-4a5b-a0e1-4e76db633912" providerId="ADAL" clId="{B72382DE-DD2E-41EE-B7A2-9D431A601203}" dt="2022-11-24T12:44:59.254" v="13256" actId="108"/>
          <ac:spMkLst>
            <pc:docMk/>
            <pc:sldMk cId="3533722340" sldId="267"/>
            <ac:spMk id="32" creationId="{495A4A3C-5D91-49FB-8054-8BB5968B73B8}"/>
          </ac:spMkLst>
        </pc:spChg>
        <pc:spChg chg="add mod ord">
          <ac:chgData name="Joan Viladomiu Tora" userId="769a1043-f370-4a5b-a0e1-4e76db633912" providerId="ADAL" clId="{B72382DE-DD2E-41EE-B7A2-9D431A601203}" dt="2022-11-24T12:40:15.455" v="13187" actId="12789"/>
          <ac:spMkLst>
            <pc:docMk/>
            <pc:sldMk cId="3533722340" sldId="267"/>
            <ac:spMk id="33" creationId="{7B95E904-E71E-4AE5-9770-025EE1ADAF4C}"/>
          </ac:spMkLst>
        </pc:spChg>
        <pc:spChg chg="add del mod modVis">
          <ac:chgData name="Joan Viladomiu Tora" userId="769a1043-f370-4a5b-a0e1-4e76db633912" providerId="ADAL" clId="{B72382DE-DD2E-41EE-B7A2-9D431A601203}" dt="2022-11-24T12:32:59.460" v="12658"/>
          <ac:spMkLst>
            <pc:docMk/>
            <pc:sldMk cId="3533722340" sldId="267"/>
            <ac:spMk id="34" creationId="{31E4EA83-D6C6-4CD8-A695-A162D1959FD6}"/>
          </ac:spMkLst>
        </pc:spChg>
        <pc:spChg chg="add del mod modVis">
          <ac:chgData name="Joan Viladomiu Tora" userId="769a1043-f370-4a5b-a0e1-4e76db633912" providerId="ADAL" clId="{B72382DE-DD2E-41EE-B7A2-9D431A601203}" dt="2022-11-24T12:33:00.291" v="12701"/>
          <ac:spMkLst>
            <pc:docMk/>
            <pc:sldMk cId="3533722340" sldId="267"/>
            <ac:spMk id="35" creationId="{6B065A5C-7047-4FDF-8689-42EEE05D8E15}"/>
          </ac:spMkLst>
        </pc:spChg>
        <pc:spChg chg="add del mod modVis">
          <ac:chgData name="Joan Viladomiu Tora" userId="769a1043-f370-4a5b-a0e1-4e76db633912" providerId="ADAL" clId="{B72382DE-DD2E-41EE-B7A2-9D431A601203}" dt="2022-11-24T12:33:03.637" v="12744"/>
          <ac:spMkLst>
            <pc:docMk/>
            <pc:sldMk cId="3533722340" sldId="267"/>
            <ac:spMk id="36" creationId="{B3DC8503-5ED4-4DB5-8F3E-79252D5A25B1}"/>
          </ac:spMkLst>
        </pc:spChg>
        <pc:spChg chg="add del mod modVis">
          <ac:chgData name="Joan Viladomiu Tora" userId="769a1043-f370-4a5b-a0e1-4e76db633912" providerId="ADAL" clId="{B72382DE-DD2E-41EE-B7A2-9D431A601203}" dt="2022-11-24T12:33:06.348" v="12788"/>
          <ac:spMkLst>
            <pc:docMk/>
            <pc:sldMk cId="3533722340" sldId="267"/>
            <ac:spMk id="37" creationId="{0CB17632-17C6-453A-B34F-209734BF36FA}"/>
          </ac:spMkLst>
        </pc:spChg>
        <pc:spChg chg="add del mod modVis">
          <ac:chgData name="Joan Viladomiu Tora" userId="769a1043-f370-4a5b-a0e1-4e76db633912" providerId="ADAL" clId="{B72382DE-DD2E-41EE-B7A2-9D431A601203}" dt="2022-11-24T12:33:27.769" v="12960"/>
          <ac:spMkLst>
            <pc:docMk/>
            <pc:sldMk cId="3533722340" sldId="267"/>
            <ac:spMk id="38" creationId="{DD71E16F-66C1-43C8-9241-1839F7301E3B}"/>
          </ac:spMkLst>
        </pc:spChg>
        <pc:spChg chg="add del mod modVis">
          <ac:chgData name="Joan Viladomiu Tora" userId="769a1043-f370-4a5b-a0e1-4e76db633912" providerId="ADAL" clId="{B72382DE-DD2E-41EE-B7A2-9D431A601203}" dt="2022-11-24T12:33:30.019" v="13004"/>
          <ac:spMkLst>
            <pc:docMk/>
            <pc:sldMk cId="3533722340" sldId="267"/>
            <ac:spMk id="39" creationId="{5506BBBF-014A-4FD8-BAFF-DAF5D19D661A}"/>
          </ac:spMkLst>
        </pc:spChg>
        <pc:spChg chg="add mod">
          <ac:chgData name="Joan Viladomiu Tora" userId="769a1043-f370-4a5b-a0e1-4e76db633912" providerId="ADAL" clId="{B72382DE-DD2E-41EE-B7A2-9D431A601203}" dt="2022-11-24T12:39:09.317" v="13171"/>
          <ac:spMkLst>
            <pc:docMk/>
            <pc:sldMk cId="3533722340" sldId="267"/>
            <ac:spMk id="40" creationId="{BB53CB25-D235-47A6-A494-2EE78D2ABDFC}"/>
          </ac:spMkLst>
        </pc:spChg>
        <pc:spChg chg="add del mod">
          <ac:chgData name="Joan Viladomiu Tora" userId="769a1043-f370-4a5b-a0e1-4e76db633912" providerId="ADAL" clId="{B72382DE-DD2E-41EE-B7A2-9D431A601203}" dt="2022-11-24T12:45:01.326" v="13257" actId="21"/>
          <ac:spMkLst>
            <pc:docMk/>
            <pc:sldMk cId="3533722340" sldId="267"/>
            <ac:spMk id="46" creationId="{ADAF2FC2-688C-49B0-9F34-1CD4EBAE58F8}"/>
          </ac:spMkLst>
        </pc:spChg>
        <pc:grpChg chg="mod">
          <ac:chgData name="Joan Viladomiu Tora" userId="769a1043-f370-4a5b-a0e1-4e76db633912" providerId="ADAL" clId="{B72382DE-DD2E-41EE-B7A2-9D431A601203}" dt="2022-11-23T17:50:14.464" v="3148"/>
          <ac:grpSpMkLst>
            <pc:docMk/>
            <pc:sldMk cId="3533722340" sldId="267"/>
            <ac:grpSpMk id="1" creationId="{00000000-0000-0000-0000-000000000000}"/>
          </ac:grpSpMkLst>
        </pc:grpChg>
        <pc:grpChg chg="add del mod">
          <ac:chgData name="Joan Viladomiu Tora" userId="769a1043-f370-4a5b-a0e1-4e76db633912" providerId="ADAL" clId="{B72382DE-DD2E-41EE-B7A2-9D431A601203}" dt="2022-11-24T11:44:34.219" v="10847" actId="165"/>
          <ac:grpSpMkLst>
            <pc:docMk/>
            <pc:sldMk cId="3533722340" sldId="267"/>
            <ac:grpSpMk id="22" creationId="{A1A4F9C9-E9AF-47B2-AF14-534E6A01B523}"/>
          </ac:grpSpMkLst>
        </pc:grpChg>
        <pc:graphicFrameChg chg="mod">
          <ac:chgData name="Joan Viladomiu Tora" userId="769a1043-f370-4a5b-a0e1-4e76db633912" providerId="ADAL" clId="{B72382DE-DD2E-41EE-B7A2-9D431A601203}" dt="2022-11-24T12:33:30.022" v="13006"/>
          <ac:graphicFrameMkLst>
            <pc:docMk/>
            <pc:sldMk cId="3533722340" sldId="267"/>
            <ac:graphicFrameMk id="7" creationId="{0F736897-BFA9-41AC-9FCD-17A27AC24D30}"/>
          </ac:graphicFrameMkLst>
        </pc:graphicFrameChg>
        <pc:picChg chg="del mod">
          <ac:chgData name="Joan Viladomiu Tora" userId="769a1043-f370-4a5b-a0e1-4e76db633912" providerId="ADAL" clId="{B72382DE-DD2E-41EE-B7A2-9D431A601203}" dt="2022-11-23T17:56:09.781" v="3386" actId="478"/>
          <ac:picMkLst>
            <pc:docMk/>
            <pc:sldMk cId="3533722340" sldId="267"/>
            <ac:picMk id="10" creationId="{791B9BD6-BFA9-4333-B563-60292C7FB45A}"/>
          </ac:picMkLst>
        </pc:picChg>
        <pc:picChg chg="del mod">
          <ac:chgData name="Joan Viladomiu Tora" userId="769a1043-f370-4a5b-a0e1-4e76db633912" providerId="ADAL" clId="{B72382DE-DD2E-41EE-B7A2-9D431A601203}" dt="2022-11-23T17:56:09.781" v="3386" actId="478"/>
          <ac:picMkLst>
            <pc:docMk/>
            <pc:sldMk cId="3533722340" sldId="267"/>
            <ac:picMk id="11" creationId="{AB553657-D0A2-4E77-8F77-FD64BF026030}"/>
          </ac:picMkLst>
        </pc:picChg>
        <pc:picChg chg="del mod">
          <ac:chgData name="Joan Viladomiu Tora" userId="769a1043-f370-4a5b-a0e1-4e76db633912" providerId="ADAL" clId="{B72382DE-DD2E-41EE-B7A2-9D431A601203}" dt="2022-11-23T17:56:09.781" v="3386" actId="478"/>
          <ac:picMkLst>
            <pc:docMk/>
            <pc:sldMk cId="3533722340" sldId="267"/>
            <ac:picMk id="12" creationId="{1AFF6F8D-D0B3-4904-B9AA-40BEDF65AE2A}"/>
          </ac:picMkLst>
        </pc:picChg>
        <pc:picChg chg="add mod ord">
          <ac:chgData name="Joan Viladomiu Tora" userId="769a1043-f370-4a5b-a0e1-4e76db633912" providerId="ADAL" clId="{B72382DE-DD2E-41EE-B7A2-9D431A601203}" dt="2022-11-24T12:06:36.364" v="11606"/>
          <ac:picMkLst>
            <pc:docMk/>
            <pc:sldMk cId="3533722340" sldId="267"/>
            <ac:picMk id="21" creationId="{DFC0669B-BCA0-429D-94D3-C55954180A26}"/>
          </ac:picMkLst>
        </pc:picChg>
        <pc:picChg chg="del mod topLvl">
          <ac:chgData name="Joan Viladomiu Tora" userId="769a1043-f370-4a5b-a0e1-4e76db633912" providerId="ADAL" clId="{B72382DE-DD2E-41EE-B7A2-9D431A601203}" dt="2022-11-24T11:44:45.715" v="10850" actId="478"/>
          <ac:picMkLst>
            <pc:docMk/>
            <pc:sldMk cId="3533722340" sldId="267"/>
            <ac:picMk id="24" creationId="{1040277A-3CFA-4F5B-8605-9B051C1AAC9F}"/>
          </ac:picMkLst>
        </pc:picChg>
        <pc:picChg chg="add mod ord">
          <ac:chgData name="Joan Viladomiu Tora" userId="769a1043-f370-4a5b-a0e1-4e76db633912" providerId="ADAL" clId="{B72382DE-DD2E-41EE-B7A2-9D431A601203}" dt="2022-11-24T12:06:36.364" v="11616"/>
          <ac:picMkLst>
            <pc:docMk/>
            <pc:sldMk cId="3533722340" sldId="267"/>
            <ac:picMk id="31" creationId="{547B91C8-EE34-4C11-B7BF-C8DDD1DA71A8}"/>
          </ac:picMkLst>
        </pc:picChg>
        <pc:picChg chg="add mod">
          <ac:chgData name="Joan Viladomiu Tora" userId="769a1043-f370-4a5b-a0e1-4e76db633912" providerId="ADAL" clId="{B72382DE-DD2E-41EE-B7A2-9D431A601203}" dt="2022-11-24T12:41:43.405" v="13200" actId="14100"/>
          <ac:picMkLst>
            <pc:docMk/>
            <pc:sldMk cId="3533722340" sldId="267"/>
            <ac:picMk id="42" creationId="{1EC1C6DB-5DA5-4F46-81F0-2EB429426F93}"/>
          </ac:picMkLst>
        </pc:picChg>
        <pc:cxnChg chg="add mod">
          <ac:chgData name="Joan Viladomiu Tora" userId="769a1043-f370-4a5b-a0e1-4e76db633912" providerId="ADAL" clId="{B72382DE-DD2E-41EE-B7A2-9D431A601203}" dt="2022-11-24T12:42:25.405" v="13209" actId="14100"/>
          <ac:cxnSpMkLst>
            <pc:docMk/>
            <pc:sldMk cId="3533722340" sldId="267"/>
            <ac:cxnSpMk id="44" creationId="{EB0B8B8E-3004-427D-B90A-3D5DD2B1D64C}"/>
          </ac:cxnSpMkLst>
        </pc:cxnChg>
      </pc:sldChg>
      <pc:sldChg chg="addSp delSp modSp add mod ord modNotes">
        <pc:chgData name="Joan Viladomiu Tora" userId="769a1043-f370-4a5b-a0e1-4e76db633912" providerId="ADAL" clId="{B72382DE-DD2E-41EE-B7A2-9D431A601203}" dt="2022-11-24T15:18:12.664" v="15131" actId="1035"/>
        <pc:sldMkLst>
          <pc:docMk/>
          <pc:sldMk cId="2602030770" sldId="268"/>
        </pc:sldMkLst>
        <pc:spChg chg="mod ord">
          <ac:chgData name="Joan Viladomiu Tora" userId="769a1043-f370-4a5b-a0e1-4e76db633912" providerId="ADAL" clId="{B72382DE-DD2E-41EE-B7A2-9D431A601203}" dt="2022-11-24T15:02:35.067" v="14919"/>
          <ac:spMkLst>
            <pc:docMk/>
            <pc:sldMk cId="2602030770" sldId="268"/>
            <ac:spMk id="2" creationId="{9AB591CE-E7CD-4793-B511-01EEF4704C68}"/>
          </ac:spMkLst>
        </pc:spChg>
        <pc:spChg chg="mod ord">
          <ac:chgData name="Joan Viladomiu Tora" userId="769a1043-f370-4a5b-a0e1-4e76db633912" providerId="ADAL" clId="{B72382DE-DD2E-41EE-B7A2-9D431A601203}" dt="2022-11-24T15:02:35.067" v="14921"/>
          <ac:spMkLst>
            <pc:docMk/>
            <pc:sldMk cId="2602030770" sldId="268"/>
            <ac:spMk id="3" creationId="{A09D244F-A42D-4A46-AC6F-12D790B16A45}"/>
          </ac:spMkLst>
        </pc:spChg>
        <pc:spChg chg="del mod">
          <ac:chgData name="Joan Viladomiu Tora" userId="769a1043-f370-4a5b-a0e1-4e76db633912" providerId="ADAL" clId="{B72382DE-DD2E-41EE-B7A2-9D431A601203}" dt="2022-11-23T17:56:17.582" v="3387" actId="478"/>
          <ac:spMkLst>
            <pc:docMk/>
            <pc:sldMk cId="2602030770" sldId="268"/>
            <ac:spMk id="4" creationId="{392DC524-ED47-43E5-AB29-FC6934A0BD14}"/>
          </ac:spMkLst>
        </pc:spChg>
        <pc:spChg chg="add mod ord topLvl">
          <ac:chgData name="Joan Viladomiu Tora" userId="769a1043-f370-4a5b-a0e1-4e76db633912" providerId="ADAL" clId="{B72382DE-DD2E-41EE-B7A2-9D431A601203}" dt="2022-11-24T15:18:12.664" v="15131" actId="1035"/>
          <ac:spMkLst>
            <pc:docMk/>
            <pc:sldMk cId="2602030770" sldId="268"/>
            <ac:spMk id="4" creationId="{4B7CF47D-62DC-4A05-8DA0-933DE35ECA39}"/>
          </ac:spMkLst>
        </pc:spChg>
        <pc:spChg chg="del mod">
          <ac:chgData name="Joan Viladomiu Tora" userId="769a1043-f370-4a5b-a0e1-4e76db633912" providerId="ADAL" clId="{B72382DE-DD2E-41EE-B7A2-9D431A601203}" dt="2022-11-23T17:56:17.582" v="3387" actId="478"/>
          <ac:spMkLst>
            <pc:docMk/>
            <pc:sldMk cId="2602030770" sldId="268"/>
            <ac:spMk id="5" creationId="{58E72ED5-6DEA-4E02-924F-08425D78FBA9}"/>
          </ac:spMkLst>
        </pc:spChg>
        <pc:spChg chg="add del mod">
          <ac:chgData name="Joan Viladomiu Tora" userId="769a1043-f370-4a5b-a0e1-4e76db633912" providerId="ADAL" clId="{B72382DE-DD2E-41EE-B7A2-9D431A601203}" dt="2022-11-24T12:56:54.091" v="13325" actId="478"/>
          <ac:spMkLst>
            <pc:docMk/>
            <pc:sldMk cId="2602030770" sldId="268"/>
            <ac:spMk id="5" creationId="{81DB8705-E30C-44AA-ADAD-88914D2B7384}"/>
          </ac:spMkLst>
        </pc:spChg>
        <pc:spChg chg="del mod">
          <ac:chgData name="Joan Viladomiu Tora" userId="769a1043-f370-4a5b-a0e1-4e76db633912" providerId="ADAL" clId="{B72382DE-DD2E-41EE-B7A2-9D431A601203}" dt="2022-11-23T17:56:17.582" v="3387" actId="478"/>
          <ac:spMkLst>
            <pc:docMk/>
            <pc:sldMk cId="2602030770" sldId="268"/>
            <ac:spMk id="6" creationId="{729B4F23-6E73-4CA6-81B1-72E7D1FD79B5}"/>
          </ac:spMkLst>
        </pc:spChg>
        <pc:spChg chg="add del mod">
          <ac:chgData name="Joan Viladomiu Tora" userId="769a1043-f370-4a5b-a0e1-4e76db633912" providerId="ADAL" clId="{B72382DE-DD2E-41EE-B7A2-9D431A601203}" dt="2022-11-24T12:57:44.461" v="13461" actId="478"/>
          <ac:spMkLst>
            <pc:docMk/>
            <pc:sldMk cId="2602030770" sldId="268"/>
            <ac:spMk id="6" creationId="{E55E5FEB-8D28-42B4-968F-70AB261447AB}"/>
          </ac:spMkLst>
        </pc:spChg>
        <pc:spChg chg="del mod">
          <ac:chgData name="Joan Viladomiu Tora" userId="769a1043-f370-4a5b-a0e1-4e76db633912" providerId="ADAL" clId="{B72382DE-DD2E-41EE-B7A2-9D431A601203}" dt="2022-11-23T17:56:17.582" v="3387" actId="478"/>
          <ac:spMkLst>
            <pc:docMk/>
            <pc:sldMk cId="2602030770" sldId="268"/>
            <ac:spMk id="8" creationId="{7D4CB53B-440D-43AA-97A4-B43AEFB0341D}"/>
          </ac:spMkLst>
        </pc:spChg>
        <pc:spChg chg="add del mod">
          <ac:chgData name="Joan Viladomiu Tora" userId="769a1043-f370-4a5b-a0e1-4e76db633912" providerId="ADAL" clId="{B72382DE-DD2E-41EE-B7A2-9D431A601203}" dt="2022-11-24T12:59:22.169" v="13590" actId="478"/>
          <ac:spMkLst>
            <pc:docMk/>
            <pc:sldMk cId="2602030770" sldId="268"/>
            <ac:spMk id="8" creationId="{834F9825-B480-49CC-B31C-6E501BBD800F}"/>
          </ac:spMkLst>
        </pc:spChg>
        <pc:spChg chg="add mod ord topLvl">
          <ac:chgData name="Joan Viladomiu Tora" userId="769a1043-f370-4a5b-a0e1-4e76db633912" providerId="ADAL" clId="{B72382DE-DD2E-41EE-B7A2-9D431A601203}" dt="2022-11-24T15:18:07.422" v="15130" actId="1035"/>
          <ac:spMkLst>
            <pc:docMk/>
            <pc:sldMk cId="2602030770" sldId="268"/>
            <ac:spMk id="9" creationId="{789B9E76-C930-4FBB-8425-6BFA57DF7F4A}"/>
          </ac:spMkLst>
        </pc:spChg>
        <pc:spChg chg="add mod ord topLvl">
          <ac:chgData name="Joan Viladomiu Tora" userId="769a1043-f370-4a5b-a0e1-4e76db633912" providerId="ADAL" clId="{B72382DE-DD2E-41EE-B7A2-9D431A601203}" dt="2022-11-24T15:18:07.422" v="15130" actId="1035"/>
          <ac:spMkLst>
            <pc:docMk/>
            <pc:sldMk cId="2602030770" sldId="268"/>
            <ac:spMk id="10" creationId="{2BC1B790-59B0-48CF-8069-C0B65B20DA6B}"/>
          </ac:spMkLst>
        </pc:spChg>
        <pc:spChg chg="add mod ord topLvl">
          <ac:chgData name="Joan Viladomiu Tora" userId="769a1043-f370-4a5b-a0e1-4e76db633912" providerId="ADAL" clId="{B72382DE-DD2E-41EE-B7A2-9D431A601203}" dt="2022-11-24T15:18:07.422" v="15130" actId="1035"/>
          <ac:spMkLst>
            <pc:docMk/>
            <pc:sldMk cId="2602030770" sldId="268"/>
            <ac:spMk id="11" creationId="{18E44BB5-0281-4563-AF1A-EB7D9F07FD7B}"/>
          </ac:spMkLst>
        </pc:spChg>
        <pc:spChg chg="add mod ord topLvl">
          <ac:chgData name="Joan Viladomiu Tora" userId="769a1043-f370-4a5b-a0e1-4e76db633912" providerId="ADAL" clId="{B72382DE-DD2E-41EE-B7A2-9D431A601203}" dt="2022-11-24T15:18:07.422" v="15130" actId="1035"/>
          <ac:spMkLst>
            <pc:docMk/>
            <pc:sldMk cId="2602030770" sldId="268"/>
            <ac:spMk id="12" creationId="{3AB69078-C89E-40BF-8249-93FBD2C693F3}"/>
          </ac:spMkLst>
        </pc:spChg>
        <pc:spChg chg="del mod">
          <ac:chgData name="Joan Viladomiu Tora" userId="769a1043-f370-4a5b-a0e1-4e76db633912" providerId="ADAL" clId="{B72382DE-DD2E-41EE-B7A2-9D431A601203}" dt="2022-11-23T17:56:17.582" v="3387" actId="478"/>
          <ac:spMkLst>
            <pc:docMk/>
            <pc:sldMk cId="2602030770" sldId="268"/>
            <ac:spMk id="13" creationId="{7B68527A-DA58-4AD3-9045-06C7B288A442}"/>
          </ac:spMkLst>
        </pc:spChg>
        <pc:spChg chg="add del mod ord topLvl">
          <ac:chgData name="Joan Viladomiu Tora" userId="769a1043-f370-4a5b-a0e1-4e76db633912" providerId="ADAL" clId="{B72382DE-DD2E-41EE-B7A2-9D431A601203}" dt="2022-11-24T14:59:51.030" v="14572" actId="478"/>
          <ac:spMkLst>
            <pc:docMk/>
            <pc:sldMk cId="2602030770" sldId="268"/>
            <ac:spMk id="13" creationId="{D440CED4-9A31-476E-86E0-2CBD86A68591}"/>
          </ac:spMkLst>
        </pc:spChg>
        <pc:spChg chg="add mod ord topLvl">
          <ac:chgData name="Joan Viladomiu Tora" userId="769a1043-f370-4a5b-a0e1-4e76db633912" providerId="ADAL" clId="{B72382DE-DD2E-41EE-B7A2-9D431A601203}" dt="2022-11-24T15:18:12.664" v="15131" actId="1035"/>
          <ac:spMkLst>
            <pc:docMk/>
            <pc:sldMk cId="2602030770" sldId="268"/>
            <ac:spMk id="14" creationId="{7D057F23-4DE6-4D19-A2EF-27DDB4C1AD3D}"/>
          </ac:spMkLst>
        </pc:spChg>
        <pc:spChg chg="del mod">
          <ac:chgData name="Joan Viladomiu Tora" userId="769a1043-f370-4a5b-a0e1-4e76db633912" providerId="ADAL" clId="{B72382DE-DD2E-41EE-B7A2-9D431A601203}" dt="2022-11-23T17:56:17.582" v="3387" actId="478"/>
          <ac:spMkLst>
            <pc:docMk/>
            <pc:sldMk cId="2602030770" sldId="268"/>
            <ac:spMk id="14" creationId="{B5E336B9-ED1D-454B-BCCF-FC8CD5975228}"/>
          </ac:spMkLst>
        </pc:spChg>
        <pc:spChg chg="add mod ord topLvl">
          <ac:chgData name="Joan Viladomiu Tora" userId="769a1043-f370-4a5b-a0e1-4e76db633912" providerId="ADAL" clId="{B72382DE-DD2E-41EE-B7A2-9D431A601203}" dt="2022-11-24T15:18:12.664" v="15131" actId="1035"/>
          <ac:spMkLst>
            <pc:docMk/>
            <pc:sldMk cId="2602030770" sldId="268"/>
            <ac:spMk id="15" creationId="{1F922AE8-EFFB-4A89-B84C-07B190DDD0D3}"/>
          </ac:spMkLst>
        </pc:spChg>
        <pc:spChg chg="add mod ord topLvl">
          <ac:chgData name="Joan Viladomiu Tora" userId="769a1043-f370-4a5b-a0e1-4e76db633912" providerId="ADAL" clId="{B72382DE-DD2E-41EE-B7A2-9D431A601203}" dt="2022-11-24T15:18:12.664" v="15131" actId="1035"/>
          <ac:spMkLst>
            <pc:docMk/>
            <pc:sldMk cId="2602030770" sldId="268"/>
            <ac:spMk id="16" creationId="{4F6F7A1D-98A0-4C42-A851-DA8AC56F7531}"/>
          </ac:spMkLst>
        </pc:spChg>
        <pc:spChg chg="add del mod ord topLvl">
          <ac:chgData name="Joan Viladomiu Tora" userId="769a1043-f370-4a5b-a0e1-4e76db633912" providerId="ADAL" clId="{B72382DE-DD2E-41EE-B7A2-9D431A601203}" dt="2022-11-24T14:59:51.030" v="14572" actId="478"/>
          <ac:spMkLst>
            <pc:docMk/>
            <pc:sldMk cId="2602030770" sldId="268"/>
            <ac:spMk id="17" creationId="{34584E95-2EFF-4E0C-8880-3974EA3A53E5}"/>
          </ac:spMkLst>
        </pc:spChg>
        <pc:spChg chg="add del mod ord topLvl">
          <ac:chgData name="Joan Viladomiu Tora" userId="769a1043-f370-4a5b-a0e1-4e76db633912" providerId="ADAL" clId="{B72382DE-DD2E-41EE-B7A2-9D431A601203}" dt="2022-11-24T15:01:10.614" v="14724" actId="478"/>
          <ac:spMkLst>
            <pc:docMk/>
            <pc:sldMk cId="2602030770" sldId="268"/>
            <ac:spMk id="23" creationId="{68A1281F-5882-4A4C-8BA3-D09A75252291}"/>
          </ac:spMkLst>
        </pc:spChg>
        <pc:spChg chg="add del mod ord topLvl">
          <ac:chgData name="Joan Viladomiu Tora" userId="769a1043-f370-4a5b-a0e1-4e76db633912" providerId="ADAL" clId="{B72382DE-DD2E-41EE-B7A2-9D431A601203}" dt="2022-11-24T14:59:51.030" v="14572" actId="478"/>
          <ac:spMkLst>
            <pc:docMk/>
            <pc:sldMk cId="2602030770" sldId="268"/>
            <ac:spMk id="24" creationId="{7F5AE56D-970A-4B8C-A2BB-4E2E52F8EC8F}"/>
          </ac:spMkLst>
        </pc:spChg>
        <pc:spChg chg="add del mod ord topLvl">
          <ac:chgData name="Joan Viladomiu Tora" userId="769a1043-f370-4a5b-a0e1-4e76db633912" providerId="ADAL" clId="{B72382DE-DD2E-41EE-B7A2-9D431A601203}" dt="2022-11-24T15:02:24.847" v="14915" actId="478"/>
          <ac:spMkLst>
            <pc:docMk/>
            <pc:sldMk cId="2602030770" sldId="268"/>
            <ac:spMk id="25" creationId="{7923C788-A1BB-4B9E-A523-6F156CD136F3}"/>
          </ac:spMkLst>
        </pc:spChg>
        <pc:spChg chg="add del mod ord topLvl">
          <ac:chgData name="Joan Viladomiu Tora" userId="769a1043-f370-4a5b-a0e1-4e76db633912" providerId="ADAL" clId="{B72382DE-DD2E-41EE-B7A2-9D431A601203}" dt="2022-11-24T15:02:26.788" v="14916" actId="478"/>
          <ac:spMkLst>
            <pc:docMk/>
            <pc:sldMk cId="2602030770" sldId="268"/>
            <ac:spMk id="26" creationId="{4B8A00FE-3E2B-4002-B09D-0D43B5D71C3D}"/>
          </ac:spMkLst>
        </pc:spChg>
        <pc:spChg chg="add mod ord topLvl">
          <ac:chgData name="Joan Viladomiu Tora" userId="769a1043-f370-4a5b-a0e1-4e76db633912" providerId="ADAL" clId="{B72382DE-DD2E-41EE-B7A2-9D431A601203}" dt="2022-11-24T15:17:02.583" v="15122" actId="1076"/>
          <ac:spMkLst>
            <pc:docMk/>
            <pc:sldMk cId="2602030770" sldId="268"/>
            <ac:spMk id="27" creationId="{28E2476B-3B60-42AF-A920-93662C4481DC}"/>
          </ac:spMkLst>
        </pc:spChg>
        <pc:spChg chg="add del">
          <ac:chgData name="Joan Viladomiu Tora" userId="769a1043-f370-4a5b-a0e1-4e76db633912" providerId="ADAL" clId="{B72382DE-DD2E-41EE-B7A2-9D431A601203}" dt="2022-11-24T14:16:07.485" v="13803" actId="478"/>
          <ac:spMkLst>
            <pc:docMk/>
            <pc:sldMk cId="2602030770" sldId="268"/>
            <ac:spMk id="29" creationId="{ABBF8CEC-77E0-4FA8-A420-BED3267AAA9D}"/>
          </ac:spMkLst>
        </pc:spChg>
        <pc:spChg chg="add del mod ord">
          <ac:chgData name="Joan Viladomiu Tora" userId="769a1043-f370-4a5b-a0e1-4e76db633912" providerId="ADAL" clId="{B72382DE-DD2E-41EE-B7A2-9D431A601203}" dt="2022-11-24T14:19:39.030" v="13850" actId="478"/>
          <ac:spMkLst>
            <pc:docMk/>
            <pc:sldMk cId="2602030770" sldId="268"/>
            <ac:spMk id="30" creationId="{B9BA0D27-E7B6-4B56-9FCF-657D21061E16}"/>
          </ac:spMkLst>
        </pc:spChg>
        <pc:spChg chg="add mod ord topLvl">
          <ac:chgData name="Joan Viladomiu Tora" userId="769a1043-f370-4a5b-a0e1-4e76db633912" providerId="ADAL" clId="{B72382DE-DD2E-41EE-B7A2-9D431A601203}" dt="2022-11-24T15:17:02.583" v="15122" actId="1076"/>
          <ac:spMkLst>
            <pc:docMk/>
            <pc:sldMk cId="2602030770" sldId="268"/>
            <ac:spMk id="31" creationId="{49632346-FD3A-43F2-A35E-0102B388FE57}"/>
          </ac:spMkLst>
        </pc:spChg>
        <pc:spChg chg="add mod ord topLvl">
          <ac:chgData name="Joan Viladomiu Tora" userId="769a1043-f370-4a5b-a0e1-4e76db633912" providerId="ADAL" clId="{B72382DE-DD2E-41EE-B7A2-9D431A601203}" dt="2022-11-24T15:17:37.701" v="15125" actId="12788"/>
          <ac:spMkLst>
            <pc:docMk/>
            <pc:sldMk cId="2602030770" sldId="268"/>
            <ac:spMk id="32" creationId="{625CF16E-8F37-41CE-A58F-42497B633DEE}"/>
          </ac:spMkLst>
        </pc:spChg>
        <pc:spChg chg="add mod ord topLvl">
          <ac:chgData name="Joan Viladomiu Tora" userId="769a1043-f370-4a5b-a0e1-4e76db633912" providerId="ADAL" clId="{B72382DE-DD2E-41EE-B7A2-9D431A601203}" dt="2022-11-24T15:17:42.982" v="15126" actId="12788"/>
          <ac:spMkLst>
            <pc:docMk/>
            <pc:sldMk cId="2602030770" sldId="268"/>
            <ac:spMk id="33" creationId="{33027954-BB2F-4F82-B844-F7A7F8812FD0}"/>
          </ac:spMkLst>
        </pc:spChg>
        <pc:grpChg chg="mod">
          <ac:chgData name="Joan Viladomiu Tora" userId="769a1043-f370-4a5b-a0e1-4e76db633912" providerId="ADAL" clId="{B72382DE-DD2E-41EE-B7A2-9D431A601203}" dt="2022-11-23T17:50:17.230" v="3152"/>
          <ac:grpSpMkLst>
            <pc:docMk/>
            <pc:sldMk cId="2602030770" sldId="268"/>
            <ac:grpSpMk id="1" creationId="{00000000-0000-0000-0000-000000000000}"/>
          </ac:grpSpMkLst>
        </pc:grpChg>
        <pc:grpChg chg="add del mod">
          <ac:chgData name="Joan Viladomiu Tora" userId="769a1043-f370-4a5b-a0e1-4e76db633912" providerId="ADAL" clId="{B72382DE-DD2E-41EE-B7A2-9D431A601203}" dt="2022-11-24T13:03:58.297" v="13638" actId="165"/>
          <ac:grpSpMkLst>
            <pc:docMk/>
            <pc:sldMk cId="2602030770" sldId="268"/>
            <ac:grpSpMk id="18" creationId="{9259AA3A-8580-4FA0-B2BB-C1E17838EE9B}"/>
          </ac:grpSpMkLst>
        </pc:grpChg>
        <pc:grpChg chg="add del mod">
          <ac:chgData name="Joan Viladomiu Tora" userId="769a1043-f370-4a5b-a0e1-4e76db633912" providerId="ADAL" clId="{B72382DE-DD2E-41EE-B7A2-9D431A601203}" dt="2022-11-24T13:03:58.297" v="13638" actId="165"/>
          <ac:grpSpMkLst>
            <pc:docMk/>
            <pc:sldMk cId="2602030770" sldId="268"/>
            <ac:grpSpMk id="19" creationId="{F8C1B6D5-C9F9-4DBF-942F-012E00E004DD}"/>
          </ac:grpSpMkLst>
        </pc:grpChg>
        <pc:grpChg chg="add del mod">
          <ac:chgData name="Joan Viladomiu Tora" userId="769a1043-f370-4a5b-a0e1-4e76db633912" providerId="ADAL" clId="{B72382DE-DD2E-41EE-B7A2-9D431A601203}" dt="2022-11-24T13:03:58.297" v="13638" actId="165"/>
          <ac:grpSpMkLst>
            <pc:docMk/>
            <pc:sldMk cId="2602030770" sldId="268"/>
            <ac:grpSpMk id="20" creationId="{90A2A7AB-7B98-4B42-90CD-4B20E5C178B7}"/>
          </ac:grpSpMkLst>
        </pc:grpChg>
        <pc:grpChg chg="add del mod">
          <ac:chgData name="Joan Viladomiu Tora" userId="769a1043-f370-4a5b-a0e1-4e76db633912" providerId="ADAL" clId="{B72382DE-DD2E-41EE-B7A2-9D431A601203}" dt="2022-11-24T13:03:58.297" v="13638" actId="165"/>
          <ac:grpSpMkLst>
            <pc:docMk/>
            <pc:sldMk cId="2602030770" sldId="268"/>
            <ac:grpSpMk id="21" creationId="{3FD6B09A-EB44-424F-8E3D-870564C58952}"/>
          </ac:grpSpMkLst>
        </pc:grpChg>
        <pc:grpChg chg="add del mod">
          <ac:chgData name="Joan Viladomiu Tora" userId="769a1043-f370-4a5b-a0e1-4e76db633912" providerId="ADAL" clId="{B72382DE-DD2E-41EE-B7A2-9D431A601203}" dt="2022-11-24T13:03:58.297" v="13638" actId="165"/>
          <ac:grpSpMkLst>
            <pc:docMk/>
            <pc:sldMk cId="2602030770" sldId="268"/>
            <ac:grpSpMk id="22" creationId="{4E153850-7E28-49E3-BAA2-336876B6A3D0}"/>
          </ac:grpSpMkLst>
        </pc:grpChg>
        <pc:grpChg chg="add del mod">
          <ac:chgData name="Joan Viladomiu Tora" userId="769a1043-f370-4a5b-a0e1-4e76db633912" providerId="ADAL" clId="{B72382DE-DD2E-41EE-B7A2-9D431A601203}" dt="2022-11-24T14:05:22.455" v="13764" actId="165"/>
          <ac:grpSpMkLst>
            <pc:docMk/>
            <pc:sldMk cId="2602030770" sldId="268"/>
            <ac:grpSpMk id="28" creationId="{88EFE983-B770-4C1C-A2CE-5AC562E334C0}"/>
          </ac:grpSpMkLst>
        </pc:grpChg>
        <pc:grpChg chg="add del mod">
          <ac:chgData name="Joan Viladomiu Tora" userId="769a1043-f370-4a5b-a0e1-4e76db633912" providerId="ADAL" clId="{B72382DE-DD2E-41EE-B7A2-9D431A601203}" dt="2022-11-24T15:14:49.484" v="15120" actId="165"/>
          <ac:grpSpMkLst>
            <pc:docMk/>
            <pc:sldMk cId="2602030770" sldId="268"/>
            <ac:grpSpMk id="34" creationId="{C4828B29-C70B-43B9-BA2B-F3F5AF1E087D}"/>
          </ac:grpSpMkLst>
        </pc:grpChg>
        <pc:graphicFrameChg chg="mod">
          <ac:chgData name="Joan Viladomiu Tora" userId="769a1043-f370-4a5b-a0e1-4e76db633912" providerId="ADAL" clId="{B72382DE-DD2E-41EE-B7A2-9D431A601203}" dt="2022-11-24T15:02:35.067" v="14947"/>
          <ac:graphicFrameMkLst>
            <pc:docMk/>
            <pc:sldMk cId="2602030770" sldId="268"/>
            <ac:graphicFrameMk id="7" creationId="{0F736897-BFA9-41AC-9FCD-17A27AC24D30}"/>
          </ac:graphicFrameMkLst>
        </pc:graphicFrameChg>
        <pc:picChg chg="del mod">
          <ac:chgData name="Joan Viladomiu Tora" userId="769a1043-f370-4a5b-a0e1-4e76db633912" providerId="ADAL" clId="{B72382DE-DD2E-41EE-B7A2-9D431A601203}" dt="2022-11-23T17:56:17.582" v="3387" actId="478"/>
          <ac:picMkLst>
            <pc:docMk/>
            <pc:sldMk cId="2602030770" sldId="268"/>
            <ac:picMk id="10" creationId="{791B9BD6-BFA9-4333-B563-60292C7FB45A}"/>
          </ac:picMkLst>
        </pc:picChg>
        <pc:picChg chg="del mod">
          <ac:chgData name="Joan Viladomiu Tora" userId="769a1043-f370-4a5b-a0e1-4e76db633912" providerId="ADAL" clId="{B72382DE-DD2E-41EE-B7A2-9D431A601203}" dt="2022-11-23T17:56:17.582" v="3387" actId="478"/>
          <ac:picMkLst>
            <pc:docMk/>
            <pc:sldMk cId="2602030770" sldId="268"/>
            <ac:picMk id="11" creationId="{AB553657-D0A2-4E77-8F77-FD64BF026030}"/>
          </ac:picMkLst>
        </pc:picChg>
        <pc:picChg chg="del mod">
          <ac:chgData name="Joan Viladomiu Tora" userId="769a1043-f370-4a5b-a0e1-4e76db633912" providerId="ADAL" clId="{B72382DE-DD2E-41EE-B7A2-9D431A601203}" dt="2022-11-23T17:56:17.582" v="3387" actId="478"/>
          <ac:picMkLst>
            <pc:docMk/>
            <pc:sldMk cId="2602030770" sldId="268"/>
            <ac:picMk id="12" creationId="{1AFF6F8D-D0B3-4904-B9AA-40BEDF65AE2A}"/>
          </ac:picMkLst>
        </pc:picChg>
      </pc:sldChg>
      <pc:sldChg chg="addSp delSp modSp add mod">
        <pc:chgData name="Joan Viladomiu Tora" userId="769a1043-f370-4a5b-a0e1-4e76db633912" providerId="ADAL" clId="{B72382DE-DD2E-41EE-B7A2-9D431A601203}" dt="2022-11-24T12:32:42.422" v="12573" actId="20577"/>
        <pc:sldMkLst>
          <pc:docMk/>
          <pc:sldMk cId="831793054" sldId="269"/>
        </pc:sldMkLst>
        <pc:spChg chg="mod ord">
          <ac:chgData name="Joan Viladomiu Tora" userId="769a1043-f370-4a5b-a0e1-4e76db633912" providerId="ADAL" clId="{B72382DE-DD2E-41EE-B7A2-9D431A601203}" dt="2022-11-23T18:38:10.155" v="5754"/>
          <ac:spMkLst>
            <pc:docMk/>
            <pc:sldMk cId="831793054" sldId="269"/>
            <ac:spMk id="2" creationId="{9AB591CE-E7CD-4793-B511-01EEF4704C68}"/>
          </ac:spMkLst>
        </pc:spChg>
        <pc:spChg chg="mod ord topLvl">
          <ac:chgData name="Joan Viladomiu Tora" userId="769a1043-f370-4a5b-a0e1-4e76db633912" providerId="ADAL" clId="{B72382DE-DD2E-41EE-B7A2-9D431A601203}" dt="2022-11-24T12:32:42.422" v="12573" actId="20577"/>
          <ac:spMkLst>
            <pc:docMk/>
            <pc:sldMk cId="831793054" sldId="269"/>
            <ac:spMk id="3" creationId="{F14C9F00-3A9E-4C5B-BBF6-F86B97E2E984}"/>
          </ac:spMkLst>
        </pc:spChg>
        <pc:spChg chg="add del mod ord topLvl">
          <ac:chgData name="Joan Viladomiu Tora" userId="769a1043-f370-4a5b-a0e1-4e76db633912" providerId="ADAL" clId="{B72382DE-DD2E-41EE-B7A2-9D431A601203}" dt="2022-11-23T18:37:19.859" v="5722" actId="478"/>
          <ac:spMkLst>
            <pc:docMk/>
            <pc:sldMk cId="831793054" sldId="269"/>
            <ac:spMk id="4" creationId="{E6E85B50-4956-4FC1-A2EC-978A564ADCB7}"/>
          </ac:spMkLst>
        </pc:spChg>
        <pc:spChg chg="add mod ord topLvl">
          <ac:chgData name="Joan Viladomiu Tora" userId="769a1043-f370-4a5b-a0e1-4e76db633912" providerId="ADAL" clId="{B72382DE-DD2E-41EE-B7A2-9D431A601203}" dt="2022-11-23T22:36:49.404" v="8055" actId="165"/>
          <ac:spMkLst>
            <pc:docMk/>
            <pc:sldMk cId="831793054" sldId="269"/>
            <ac:spMk id="11" creationId="{F1EFDB62-DB39-43E3-852F-39D83E113ECC}"/>
          </ac:spMkLst>
        </pc:spChg>
        <pc:spChg chg="add del mod ord topLvl">
          <ac:chgData name="Joan Viladomiu Tora" userId="769a1043-f370-4a5b-a0e1-4e76db633912" providerId="ADAL" clId="{B72382DE-DD2E-41EE-B7A2-9D431A601203}" dt="2022-11-23T18:37:17.099" v="5721" actId="478"/>
          <ac:spMkLst>
            <pc:docMk/>
            <pc:sldMk cId="831793054" sldId="269"/>
            <ac:spMk id="12" creationId="{FBBB9ED6-369A-4249-B641-14ED1BF9F1A3}"/>
          </ac:spMkLst>
        </pc:spChg>
        <pc:spChg chg="add mod ord topLvl">
          <ac:chgData name="Joan Viladomiu Tora" userId="769a1043-f370-4a5b-a0e1-4e76db633912" providerId="ADAL" clId="{B72382DE-DD2E-41EE-B7A2-9D431A601203}" dt="2022-11-24T11:18:50.834" v="10726"/>
          <ac:spMkLst>
            <pc:docMk/>
            <pc:sldMk cId="831793054" sldId="269"/>
            <ac:spMk id="14" creationId="{469435A3-9A62-443C-A2B0-9CB0602BCE36}"/>
          </ac:spMkLst>
        </pc:spChg>
        <pc:spChg chg="mod ord topLvl">
          <ac:chgData name="Joan Viladomiu Tora" userId="769a1043-f370-4a5b-a0e1-4e76db633912" providerId="ADAL" clId="{B72382DE-DD2E-41EE-B7A2-9D431A601203}" dt="2022-11-24T11:19:17.596" v="10732" actId="20577"/>
          <ac:spMkLst>
            <pc:docMk/>
            <pc:sldMk cId="831793054" sldId="269"/>
            <ac:spMk id="15" creationId="{B36E7234-2C46-48EB-8396-5561CEE30719}"/>
          </ac:spMkLst>
        </pc:spChg>
        <pc:spChg chg="mod ord topLvl">
          <ac:chgData name="Joan Viladomiu Tora" userId="769a1043-f370-4a5b-a0e1-4e76db633912" providerId="ADAL" clId="{B72382DE-DD2E-41EE-B7A2-9D431A601203}" dt="2022-11-24T12:30:03.068" v="12402" actId="20577"/>
          <ac:spMkLst>
            <pc:docMk/>
            <pc:sldMk cId="831793054" sldId="269"/>
            <ac:spMk id="16" creationId="{25CE0F25-FB00-4F16-8785-DB700198EF7F}"/>
          </ac:spMkLst>
        </pc:spChg>
        <pc:spChg chg="add mod ord topLvl">
          <ac:chgData name="Joan Viladomiu Tora" userId="769a1043-f370-4a5b-a0e1-4e76db633912" providerId="ADAL" clId="{B72382DE-DD2E-41EE-B7A2-9D431A601203}" dt="2022-11-24T11:19:42.197" v="10733" actId="165"/>
          <ac:spMkLst>
            <pc:docMk/>
            <pc:sldMk cId="831793054" sldId="269"/>
            <ac:spMk id="18" creationId="{C8970312-47ED-4D69-A206-579FC1A88AC3}"/>
          </ac:spMkLst>
        </pc:spChg>
        <pc:spChg chg="add mod">
          <ac:chgData name="Joan Viladomiu Tora" userId="769a1043-f370-4a5b-a0e1-4e76db633912" providerId="ADAL" clId="{B72382DE-DD2E-41EE-B7A2-9D431A601203}" dt="2022-11-23T22:37:02.089" v="8057" actId="571"/>
          <ac:spMkLst>
            <pc:docMk/>
            <pc:sldMk cId="831793054" sldId="269"/>
            <ac:spMk id="20" creationId="{59BB5C88-1B55-4DE3-B70F-A814F93A2D35}"/>
          </ac:spMkLst>
        </pc:spChg>
        <pc:spChg chg="add del mod">
          <ac:chgData name="Joan Viladomiu Tora" userId="769a1043-f370-4a5b-a0e1-4e76db633912" providerId="ADAL" clId="{B72382DE-DD2E-41EE-B7A2-9D431A601203}" dt="2022-11-24T12:28:47.068" v="12400" actId="478"/>
          <ac:spMkLst>
            <pc:docMk/>
            <pc:sldMk cId="831793054" sldId="269"/>
            <ac:spMk id="20" creationId="{D252A449-7F95-4E0A-926C-C43C3BB27A09}"/>
          </ac:spMkLst>
        </pc:spChg>
        <pc:spChg chg="add mod">
          <ac:chgData name="Joan Viladomiu Tora" userId="769a1043-f370-4a5b-a0e1-4e76db633912" providerId="ADAL" clId="{B72382DE-DD2E-41EE-B7A2-9D431A601203}" dt="2022-11-24T11:18:50.834" v="10726"/>
          <ac:spMkLst>
            <pc:docMk/>
            <pc:sldMk cId="831793054" sldId="269"/>
            <ac:spMk id="23" creationId="{DA1E771E-E4D5-4511-AFB3-16E8CA9A6324}"/>
          </ac:spMkLst>
        </pc:spChg>
        <pc:spChg chg="add mod">
          <ac:chgData name="Joan Viladomiu Tora" userId="769a1043-f370-4a5b-a0e1-4e76db633912" providerId="ADAL" clId="{B72382DE-DD2E-41EE-B7A2-9D431A601203}" dt="2022-11-24T11:18:50.834" v="10726"/>
          <ac:spMkLst>
            <pc:docMk/>
            <pc:sldMk cId="831793054" sldId="269"/>
            <ac:spMk id="25" creationId="{E277C564-FCB4-48F7-8E3D-0F57E183F661}"/>
          </ac:spMkLst>
        </pc:spChg>
        <pc:grpChg chg="add del mod">
          <ac:chgData name="Joan Viladomiu Tora" userId="769a1043-f370-4a5b-a0e1-4e76db633912" providerId="ADAL" clId="{B72382DE-DD2E-41EE-B7A2-9D431A601203}" dt="2022-11-23T22:36:49.404" v="8055" actId="165"/>
          <ac:grpSpMkLst>
            <pc:docMk/>
            <pc:sldMk cId="831793054" sldId="269"/>
            <ac:grpSpMk id="4" creationId="{ED990E2F-7CDA-484D-90F6-E4B3B2976B21}"/>
          </ac:grpSpMkLst>
        </pc:grpChg>
        <pc:grpChg chg="add del mod">
          <ac:chgData name="Joan Viladomiu Tora" userId="769a1043-f370-4a5b-a0e1-4e76db633912" providerId="ADAL" clId="{B72382DE-DD2E-41EE-B7A2-9D431A601203}" dt="2022-11-23T18:36:15.226" v="5695" actId="165"/>
          <ac:grpSpMkLst>
            <pc:docMk/>
            <pc:sldMk cId="831793054" sldId="269"/>
            <ac:grpSpMk id="5" creationId="{1F0E525D-4423-4EEA-AAEE-087686051639}"/>
          </ac:grpSpMkLst>
        </pc:grpChg>
        <pc:grpChg chg="mod">
          <ac:chgData name="Joan Viladomiu Tora" userId="769a1043-f370-4a5b-a0e1-4e76db633912" providerId="ADAL" clId="{B72382DE-DD2E-41EE-B7A2-9D431A601203}" dt="2022-11-24T11:18:50.834" v="10726"/>
          <ac:grpSpMkLst>
            <pc:docMk/>
            <pc:sldMk cId="831793054" sldId="269"/>
            <ac:grpSpMk id="26" creationId="{2D9B6725-9773-49A3-A8D5-F166D5C997EE}"/>
          </ac:grpSpMkLst>
        </pc:grpChg>
        <pc:grpChg chg="del mod">
          <ac:chgData name="Joan Viladomiu Tora" userId="769a1043-f370-4a5b-a0e1-4e76db633912" providerId="ADAL" clId="{B72382DE-DD2E-41EE-B7A2-9D431A601203}" dt="2022-11-24T11:19:42.197" v="10733" actId="165"/>
          <ac:grpSpMkLst>
            <pc:docMk/>
            <pc:sldMk cId="831793054" sldId="269"/>
            <ac:grpSpMk id="28" creationId="{3ABB2A2F-03AE-46B7-B800-8573F5B876F6}"/>
          </ac:grpSpMkLst>
        </pc:grpChg>
        <pc:graphicFrameChg chg="mod">
          <ac:chgData name="Joan Viladomiu Tora" userId="769a1043-f370-4a5b-a0e1-4e76db633912" providerId="ADAL" clId="{B72382DE-DD2E-41EE-B7A2-9D431A601203}" dt="2022-11-23T18:38:10.163" v="5774"/>
          <ac:graphicFrameMkLst>
            <pc:docMk/>
            <pc:sldMk cId="831793054" sldId="269"/>
            <ac:graphicFrameMk id="7" creationId="{0F736897-BFA9-41AC-9FCD-17A27AC24D30}"/>
          </ac:graphicFrameMkLst>
        </pc:graphicFrameChg>
        <pc:picChg chg="mod ord topLvl">
          <ac:chgData name="Joan Viladomiu Tora" userId="769a1043-f370-4a5b-a0e1-4e76db633912" providerId="ADAL" clId="{B72382DE-DD2E-41EE-B7A2-9D431A601203}" dt="2022-11-24T11:19:42.197" v="10733" actId="165"/>
          <ac:picMkLst>
            <pc:docMk/>
            <pc:sldMk cId="831793054" sldId="269"/>
            <ac:picMk id="17" creationId="{7CD2B965-EAB1-402D-9CE9-1D7DA34D4F48}"/>
          </ac:picMkLst>
        </pc:picChg>
        <pc:picChg chg="mod ord topLvl">
          <ac:chgData name="Joan Viladomiu Tora" userId="769a1043-f370-4a5b-a0e1-4e76db633912" providerId="ADAL" clId="{B72382DE-DD2E-41EE-B7A2-9D431A601203}" dt="2022-11-24T11:18:50.834" v="10726"/>
          <ac:picMkLst>
            <pc:docMk/>
            <pc:sldMk cId="831793054" sldId="269"/>
            <ac:picMk id="19" creationId="{3F5C019E-9C06-47E2-8A4D-BE6125E43874}"/>
          </ac:picMkLst>
        </pc:picChg>
        <pc:picChg chg="mod ord topLvl">
          <ac:chgData name="Joan Viladomiu Tora" userId="769a1043-f370-4a5b-a0e1-4e76db633912" providerId="ADAL" clId="{B72382DE-DD2E-41EE-B7A2-9D431A601203}" dt="2022-11-23T22:36:49.404" v="8055" actId="165"/>
          <ac:picMkLst>
            <pc:docMk/>
            <pc:sldMk cId="831793054" sldId="269"/>
            <ac:picMk id="21" creationId="{05FCDA0C-AA45-4BDC-8ED7-17EE2D356043}"/>
          </ac:picMkLst>
        </pc:picChg>
        <pc:picChg chg="add mod">
          <ac:chgData name="Joan Viladomiu Tora" userId="769a1043-f370-4a5b-a0e1-4e76db633912" providerId="ADAL" clId="{B72382DE-DD2E-41EE-B7A2-9D431A601203}" dt="2022-11-23T22:37:02.089" v="8057" actId="571"/>
          <ac:picMkLst>
            <pc:docMk/>
            <pc:sldMk cId="831793054" sldId="269"/>
            <ac:picMk id="22" creationId="{8B0FD811-A41B-43AA-9456-BC4F9D77986E}"/>
          </ac:picMkLst>
        </pc:picChg>
        <pc:picChg chg="add del mod">
          <ac:chgData name="Joan Viladomiu Tora" userId="769a1043-f370-4a5b-a0e1-4e76db633912" providerId="ADAL" clId="{B72382DE-DD2E-41EE-B7A2-9D431A601203}" dt="2022-11-23T22:37:27.010" v="8060" actId="478"/>
          <ac:picMkLst>
            <pc:docMk/>
            <pc:sldMk cId="831793054" sldId="269"/>
            <ac:picMk id="24" creationId="{038E31F7-3E77-4A4E-9C05-B7248C9A9061}"/>
          </ac:picMkLst>
        </pc:picChg>
      </pc:sldChg>
      <pc:sldChg chg="addSp delSp modSp del mod">
        <pc:chgData name="Joan Viladomiu Tora" userId="769a1043-f370-4a5b-a0e1-4e76db633912" providerId="ADAL" clId="{B72382DE-DD2E-41EE-B7A2-9D431A601203}" dt="2022-11-24T08:05:57.577" v="10188" actId="47"/>
        <pc:sldMkLst>
          <pc:docMk/>
          <pc:sldMk cId="2101139152" sldId="270"/>
        </pc:sldMkLst>
        <pc:spChg chg="add del">
          <ac:chgData name="Joan Viladomiu Tora" userId="769a1043-f370-4a5b-a0e1-4e76db633912" providerId="ADAL" clId="{B72382DE-DD2E-41EE-B7A2-9D431A601203}" dt="2022-11-23T22:53:14.848" v="8491" actId="478"/>
          <ac:spMkLst>
            <pc:docMk/>
            <pc:sldMk cId="2101139152" sldId="270"/>
            <ac:spMk id="5" creationId="{22EA9FAC-DB8E-4F34-8736-0853D0A45846}"/>
          </ac:spMkLst>
        </pc:spChg>
        <pc:spChg chg="mod">
          <ac:chgData name="Joan Viladomiu Tora" userId="769a1043-f370-4a5b-a0e1-4e76db633912" providerId="ADAL" clId="{B72382DE-DD2E-41EE-B7A2-9D431A601203}" dt="2022-11-23T23:11:36.312" v="8704" actId="20577"/>
          <ac:spMkLst>
            <pc:docMk/>
            <pc:sldMk cId="2101139152" sldId="270"/>
            <ac:spMk id="13" creationId="{3D95C96F-A6DA-4A05-90AF-CA9A168E3595}"/>
          </ac:spMkLst>
        </pc:spChg>
        <pc:spChg chg="add del mod">
          <ac:chgData name="Joan Viladomiu Tora" userId="769a1043-f370-4a5b-a0e1-4e76db633912" providerId="ADAL" clId="{B72382DE-DD2E-41EE-B7A2-9D431A601203}" dt="2022-11-23T23:12:16.067" v="8706" actId="14861"/>
          <ac:spMkLst>
            <pc:docMk/>
            <pc:sldMk cId="2101139152" sldId="270"/>
            <ac:spMk id="14" creationId="{6E32160E-D95D-4BF8-8BAB-53A7210C7435}"/>
          </ac:spMkLst>
        </pc:spChg>
        <pc:spChg chg="add del mod">
          <ac:chgData name="Joan Viladomiu Tora" userId="769a1043-f370-4a5b-a0e1-4e76db633912" providerId="ADAL" clId="{B72382DE-DD2E-41EE-B7A2-9D431A601203}" dt="2022-11-23T23:12:16.067" v="8706" actId="14861"/>
          <ac:spMkLst>
            <pc:docMk/>
            <pc:sldMk cId="2101139152" sldId="270"/>
            <ac:spMk id="15" creationId="{16AE67B6-CDF6-47F1-B22D-F52CF73D5E54}"/>
          </ac:spMkLst>
        </pc:spChg>
        <pc:spChg chg="add del mod">
          <ac:chgData name="Joan Viladomiu Tora" userId="769a1043-f370-4a5b-a0e1-4e76db633912" providerId="ADAL" clId="{B72382DE-DD2E-41EE-B7A2-9D431A601203}" dt="2022-11-23T23:12:16.067" v="8706" actId="14861"/>
          <ac:spMkLst>
            <pc:docMk/>
            <pc:sldMk cId="2101139152" sldId="270"/>
            <ac:spMk id="16" creationId="{975376C4-E370-4DDD-B036-84BAAF13CC87}"/>
          </ac:spMkLst>
        </pc:spChg>
        <pc:spChg chg="mod">
          <ac:chgData name="Joan Viladomiu Tora" userId="769a1043-f370-4a5b-a0e1-4e76db633912" providerId="ADAL" clId="{B72382DE-DD2E-41EE-B7A2-9D431A601203}" dt="2022-11-23T23:11:47.974" v="8705" actId="1076"/>
          <ac:spMkLst>
            <pc:docMk/>
            <pc:sldMk cId="2101139152" sldId="270"/>
            <ac:spMk id="18" creationId="{3A675BC0-83B7-4C9E-80BB-C94CDD83E2E0}"/>
          </ac:spMkLst>
        </pc:spChg>
        <pc:spChg chg="mod">
          <ac:chgData name="Joan Viladomiu Tora" userId="769a1043-f370-4a5b-a0e1-4e76db633912" providerId="ADAL" clId="{B72382DE-DD2E-41EE-B7A2-9D431A601203}" dt="2022-11-23T23:11:47.974" v="8705" actId="1076"/>
          <ac:spMkLst>
            <pc:docMk/>
            <pc:sldMk cId="2101139152" sldId="270"/>
            <ac:spMk id="19" creationId="{4847E85A-5980-45B5-9056-3107330A6BED}"/>
          </ac:spMkLst>
        </pc:spChg>
        <pc:spChg chg="mod">
          <ac:chgData name="Joan Viladomiu Tora" userId="769a1043-f370-4a5b-a0e1-4e76db633912" providerId="ADAL" clId="{B72382DE-DD2E-41EE-B7A2-9D431A601203}" dt="2022-11-23T23:11:47.974" v="8705" actId="1076"/>
          <ac:spMkLst>
            <pc:docMk/>
            <pc:sldMk cId="2101139152" sldId="270"/>
            <ac:spMk id="20" creationId="{B4E62292-B68B-4546-B88D-3299EF598451}"/>
          </ac:spMkLst>
        </pc:spChg>
        <pc:spChg chg="add del mod topLvl">
          <ac:chgData name="Joan Viladomiu Tora" userId="769a1043-f370-4a5b-a0e1-4e76db633912" providerId="ADAL" clId="{B72382DE-DD2E-41EE-B7A2-9D431A601203}" dt="2022-11-23T23:14:49.605" v="8727" actId="478"/>
          <ac:spMkLst>
            <pc:docMk/>
            <pc:sldMk cId="2101139152" sldId="270"/>
            <ac:spMk id="21" creationId="{23B91FEC-6888-4251-8AAC-36EECCD4FDA8}"/>
          </ac:spMkLst>
        </pc:spChg>
        <pc:spChg chg="del mod topLvl">
          <ac:chgData name="Joan Viladomiu Tora" userId="769a1043-f370-4a5b-a0e1-4e76db633912" providerId="ADAL" clId="{B72382DE-DD2E-41EE-B7A2-9D431A601203}" dt="2022-11-23T23:14:20.407" v="8719" actId="478"/>
          <ac:spMkLst>
            <pc:docMk/>
            <pc:sldMk cId="2101139152" sldId="270"/>
            <ac:spMk id="22" creationId="{2B05FA95-AA0D-49B7-BF34-A4725972E209}"/>
          </ac:spMkLst>
        </pc:spChg>
        <pc:spChg chg="del mod topLvl">
          <ac:chgData name="Joan Viladomiu Tora" userId="769a1043-f370-4a5b-a0e1-4e76db633912" providerId="ADAL" clId="{B72382DE-DD2E-41EE-B7A2-9D431A601203}" dt="2022-11-23T23:14:14.814" v="8717" actId="478"/>
          <ac:spMkLst>
            <pc:docMk/>
            <pc:sldMk cId="2101139152" sldId="270"/>
            <ac:spMk id="23" creationId="{3D77AB4D-D745-47AE-AFB8-52C65833757A}"/>
          </ac:spMkLst>
        </pc:spChg>
        <pc:grpChg chg="del mod">
          <ac:chgData name="Joan Viladomiu Tora" userId="769a1043-f370-4a5b-a0e1-4e76db633912" providerId="ADAL" clId="{B72382DE-DD2E-41EE-B7A2-9D431A601203}" dt="2022-11-23T23:14:17.586" v="8718" actId="165"/>
          <ac:grpSpMkLst>
            <pc:docMk/>
            <pc:sldMk cId="2101139152" sldId="270"/>
            <ac:grpSpMk id="9" creationId="{9361A6E2-D249-45D0-A2A8-177E9112AD8C}"/>
          </ac:grpSpMkLst>
        </pc:grpChg>
        <pc:grpChg chg="del mod">
          <ac:chgData name="Joan Viladomiu Tora" userId="769a1043-f370-4a5b-a0e1-4e76db633912" providerId="ADAL" clId="{B72382DE-DD2E-41EE-B7A2-9D431A601203}" dt="2022-11-23T23:14:23.941" v="8720" actId="165"/>
          <ac:grpSpMkLst>
            <pc:docMk/>
            <pc:sldMk cId="2101139152" sldId="270"/>
            <ac:grpSpMk id="10" creationId="{DF8E1E43-1891-49D4-B0E7-A4F10FA772C8}"/>
          </ac:grpSpMkLst>
        </pc:grpChg>
        <pc:grpChg chg="del mod">
          <ac:chgData name="Joan Viladomiu Tora" userId="769a1043-f370-4a5b-a0e1-4e76db633912" providerId="ADAL" clId="{B72382DE-DD2E-41EE-B7A2-9D431A601203}" dt="2022-11-23T23:14:07.307" v="8716" actId="165"/>
          <ac:grpSpMkLst>
            <pc:docMk/>
            <pc:sldMk cId="2101139152" sldId="270"/>
            <ac:grpSpMk id="11" creationId="{86F04A5E-4DE8-4D75-99C4-7F6A38E61DF8}"/>
          </ac:grpSpMkLst>
        </pc:grpChg>
        <pc:picChg chg="mod topLvl">
          <ac:chgData name="Joan Viladomiu Tora" userId="769a1043-f370-4a5b-a0e1-4e76db633912" providerId="ADAL" clId="{B72382DE-DD2E-41EE-B7A2-9D431A601203}" dt="2022-11-23T23:14:58.319" v="8729" actId="14100"/>
          <ac:picMkLst>
            <pc:docMk/>
            <pc:sldMk cId="2101139152" sldId="270"/>
            <ac:picMk id="26" creationId="{3D26DEED-3AB3-4168-A978-F9232F0F2622}"/>
          </ac:picMkLst>
        </pc:picChg>
        <pc:picChg chg="mod topLvl">
          <ac:chgData name="Joan Viladomiu Tora" userId="769a1043-f370-4a5b-a0e1-4e76db633912" providerId="ADAL" clId="{B72382DE-DD2E-41EE-B7A2-9D431A601203}" dt="2022-11-23T23:14:45.709" v="8725" actId="108"/>
          <ac:picMkLst>
            <pc:docMk/>
            <pc:sldMk cId="2101139152" sldId="270"/>
            <ac:picMk id="28" creationId="{CF36E550-88F7-4BC4-85F6-83F4D873840D}"/>
          </ac:picMkLst>
        </pc:picChg>
        <pc:picChg chg="mod topLvl">
          <ac:chgData name="Joan Viladomiu Tora" userId="769a1043-f370-4a5b-a0e1-4e76db633912" providerId="ADAL" clId="{B72382DE-DD2E-41EE-B7A2-9D431A601203}" dt="2022-11-23T23:14:44.829" v="8724" actId="108"/>
          <ac:picMkLst>
            <pc:docMk/>
            <pc:sldMk cId="2101139152" sldId="270"/>
            <ac:picMk id="30" creationId="{9D5914E5-7A67-4D15-97F3-0DA840C79A43}"/>
          </ac:picMkLst>
        </pc:picChg>
        <pc:cxnChg chg="del">
          <ac:chgData name="Joan Viladomiu Tora" userId="769a1043-f370-4a5b-a0e1-4e76db633912" providerId="ADAL" clId="{B72382DE-DD2E-41EE-B7A2-9D431A601203}" dt="2022-11-23T23:10:43.827" v="8675" actId="478"/>
          <ac:cxnSpMkLst>
            <pc:docMk/>
            <pc:sldMk cId="2101139152" sldId="270"/>
            <ac:cxnSpMk id="7" creationId="{F1111ED5-F987-4641-AAFA-63AADA446C73}"/>
          </ac:cxnSpMkLst>
        </pc:cxnChg>
      </pc:sldChg>
      <pc:sldChg chg="addSp delSp modSp add mod ord modClrScheme chgLayout">
        <pc:chgData name="Joan Viladomiu Tora" userId="769a1043-f370-4a5b-a0e1-4e76db633912" providerId="ADAL" clId="{B72382DE-DD2E-41EE-B7A2-9D431A601203}" dt="2022-11-24T14:02:27.540" v="13702"/>
        <pc:sldMkLst>
          <pc:docMk/>
          <pc:sldMk cId="1641666667" sldId="271"/>
        </pc:sldMkLst>
        <pc:spChg chg="mod ord">
          <ac:chgData name="Joan Viladomiu Tora" userId="769a1043-f370-4a5b-a0e1-4e76db633912" providerId="ADAL" clId="{B72382DE-DD2E-41EE-B7A2-9D431A601203}" dt="2022-11-23T23:00:33.574" v="8632"/>
          <ac:spMkLst>
            <pc:docMk/>
            <pc:sldMk cId="1641666667" sldId="271"/>
            <ac:spMk id="2" creationId="{F5BEA453-86B2-4D6B-8F50-1355083F9C6F}"/>
          </ac:spMkLst>
        </pc:spChg>
        <pc:spChg chg="mod ord">
          <ac:chgData name="Joan Viladomiu Tora" userId="769a1043-f370-4a5b-a0e1-4e76db633912" providerId="ADAL" clId="{B72382DE-DD2E-41EE-B7A2-9D431A601203}" dt="2022-11-23T23:00:33.576" v="8636"/>
          <ac:spMkLst>
            <pc:docMk/>
            <pc:sldMk cId="1641666667" sldId="271"/>
            <ac:spMk id="3" creationId="{53C366B4-FEF8-42A4-9EB9-64A743FF12B5}"/>
          </ac:spMkLst>
        </pc:spChg>
        <pc:spChg chg="del mod ord">
          <ac:chgData name="Joan Viladomiu Tora" userId="769a1043-f370-4a5b-a0e1-4e76db633912" providerId="ADAL" clId="{B72382DE-DD2E-41EE-B7A2-9D431A601203}" dt="2022-11-23T22:15:28.489" v="6114" actId="478"/>
          <ac:spMkLst>
            <pc:docMk/>
            <pc:sldMk cId="1641666667" sldId="271"/>
            <ac:spMk id="4" creationId="{32BAFD0C-8DC4-4BAE-8E98-762E0FE29B70}"/>
          </ac:spMkLst>
        </pc:spChg>
        <pc:spChg chg="mod ord">
          <ac:chgData name="Joan Viladomiu Tora" userId="769a1043-f370-4a5b-a0e1-4e76db633912" providerId="ADAL" clId="{B72382DE-DD2E-41EE-B7A2-9D431A601203}" dt="2022-11-23T23:00:59.780" v="8644" actId="14100"/>
          <ac:spMkLst>
            <pc:docMk/>
            <pc:sldMk cId="1641666667" sldId="271"/>
            <ac:spMk id="4" creationId="{E7E7F248-A6EC-4775-9234-C53BF7A17E3E}"/>
          </ac:spMkLst>
        </pc:spChg>
        <pc:spChg chg="add del mod modVis">
          <ac:chgData name="Joan Viladomiu Tora" userId="769a1043-f370-4a5b-a0e1-4e76db633912" providerId="ADAL" clId="{B72382DE-DD2E-41EE-B7A2-9D431A601203}" dt="2022-11-23T22:15:04.477" v="6098"/>
          <ac:spMkLst>
            <pc:docMk/>
            <pc:sldMk cId="1641666667" sldId="271"/>
            <ac:spMk id="6" creationId="{C2229490-86F0-42A3-BD27-5A3CB643557C}"/>
          </ac:spMkLst>
        </pc:spChg>
        <pc:spChg chg="add del mod modVis">
          <ac:chgData name="Joan Viladomiu Tora" userId="769a1043-f370-4a5b-a0e1-4e76db633912" providerId="ADAL" clId="{B72382DE-DD2E-41EE-B7A2-9D431A601203}" dt="2022-11-23T22:15:50.105" v="6186"/>
          <ac:spMkLst>
            <pc:docMk/>
            <pc:sldMk cId="1641666667" sldId="271"/>
            <ac:spMk id="7" creationId="{AC5916BD-686A-4D0D-ACAE-A7C63E750BC8}"/>
          </ac:spMkLst>
        </pc:spChg>
        <pc:spChg chg="add del mod modVis">
          <ac:chgData name="Joan Viladomiu Tora" userId="769a1043-f370-4a5b-a0e1-4e76db633912" providerId="ADAL" clId="{B72382DE-DD2E-41EE-B7A2-9D431A601203}" dt="2022-11-23T22:15:57.823" v="6261"/>
          <ac:spMkLst>
            <pc:docMk/>
            <pc:sldMk cId="1641666667" sldId="271"/>
            <ac:spMk id="8" creationId="{3F58B54D-6DAB-4C39-B333-A2EDD9EC6300}"/>
          </ac:spMkLst>
        </pc:spChg>
        <pc:spChg chg="add del mod modVis">
          <ac:chgData name="Joan Viladomiu Tora" userId="769a1043-f370-4a5b-a0e1-4e76db633912" providerId="ADAL" clId="{B72382DE-DD2E-41EE-B7A2-9D431A601203}" dt="2022-11-23T22:15:59.445" v="6338"/>
          <ac:spMkLst>
            <pc:docMk/>
            <pc:sldMk cId="1641666667" sldId="271"/>
            <ac:spMk id="9" creationId="{3D979A52-6F5D-4B5D-BE42-383B74CA2C93}"/>
          </ac:spMkLst>
        </pc:spChg>
        <pc:spChg chg="add del mod modVis">
          <ac:chgData name="Joan Viladomiu Tora" userId="769a1043-f370-4a5b-a0e1-4e76db633912" providerId="ADAL" clId="{B72382DE-DD2E-41EE-B7A2-9D431A601203}" dt="2022-11-23T22:16:07.743" v="6411"/>
          <ac:spMkLst>
            <pc:docMk/>
            <pc:sldMk cId="1641666667" sldId="271"/>
            <ac:spMk id="10" creationId="{AA48F9FF-6803-4AA1-B44D-9CBF29B196FA}"/>
          </ac:spMkLst>
        </pc:spChg>
        <pc:spChg chg="add del mod modVis">
          <ac:chgData name="Joan Viladomiu Tora" userId="769a1043-f370-4a5b-a0e1-4e76db633912" providerId="ADAL" clId="{B72382DE-DD2E-41EE-B7A2-9D431A601203}" dt="2022-11-23T22:16:12.931" v="6484"/>
          <ac:spMkLst>
            <pc:docMk/>
            <pc:sldMk cId="1641666667" sldId="271"/>
            <ac:spMk id="11" creationId="{65126FB8-48AA-49B4-AA94-84909173B38A}"/>
          </ac:spMkLst>
        </pc:spChg>
        <pc:spChg chg="add del mod modVis">
          <ac:chgData name="Joan Viladomiu Tora" userId="769a1043-f370-4a5b-a0e1-4e76db633912" providerId="ADAL" clId="{B72382DE-DD2E-41EE-B7A2-9D431A601203}" dt="2022-11-23T22:16:15.308" v="6561"/>
          <ac:spMkLst>
            <pc:docMk/>
            <pc:sldMk cId="1641666667" sldId="271"/>
            <ac:spMk id="12" creationId="{06416225-4020-47D7-917D-5E27369D5296}"/>
          </ac:spMkLst>
        </pc:spChg>
        <pc:spChg chg="add del mod modVis">
          <ac:chgData name="Joan Viladomiu Tora" userId="769a1043-f370-4a5b-a0e1-4e76db633912" providerId="ADAL" clId="{B72382DE-DD2E-41EE-B7A2-9D431A601203}" dt="2022-11-23T22:16:28.078" v="6634"/>
          <ac:spMkLst>
            <pc:docMk/>
            <pc:sldMk cId="1641666667" sldId="271"/>
            <ac:spMk id="13" creationId="{E0285762-F77E-4B3C-AC3C-CB38DC75DC1C}"/>
          </ac:spMkLst>
        </pc:spChg>
        <pc:spChg chg="add del mod modVis">
          <ac:chgData name="Joan Viladomiu Tora" userId="769a1043-f370-4a5b-a0e1-4e76db633912" providerId="ADAL" clId="{B72382DE-DD2E-41EE-B7A2-9D431A601203}" dt="2022-11-23T22:21:04.918" v="6889"/>
          <ac:spMkLst>
            <pc:docMk/>
            <pc:sldMk cId="1641666667" sldId="271"/>
            <ac:spMk id="14" creationId="{3FD40C5C-C3D8-480F-930D-D5B4CED3D78D}"/>
          </ac:spMkLst>
        </pc:spChg>
        <pc:spChg chg="add del mod modVis">
          <ac:chgData name="Joan Viladomiu Tora" userId="769a1043-f370-4a5b-a0e1-4e76db633912" providerId="ADAL" clId="{B72382DE-DD2E-41EE-B7A2-9D431A601203}" dt="2022-11-23T22:21:05.357" v="6963"/>
          <ac:spMkLst>
            <pc:docMk/>
            <pc:sldMk cId="1641666667" sldId="271"/>
            <ac:spMk id="15" creationId="{7338BCBF-F6EE-4F29-860C-8F2FF58FF653}"/>
          </ac:spMkLst>
        </pc:spChg>
        <pc:spChg chg="add del mod modVis">
          <ac:chgData name="Joan Viladomiu Tora" userId="769a1043-f370-4a5b-a0e1-4e76db633912" providerId="ADAL" clId="{B72382DE-DD2E-41EE-B7A2-9D431A601203}" dt="2022-11-23T22:21:09.093" v="7053"/>
          <ac:spMkLst>
            <pc:docMk/>
            <pc:sldMk cId="1641666667" sldId="271"/>
            <ac:spMk id="16" creationId="{C0D2C0C6-F8D0-4778-90CD-D2FC6588540C}"/>
          </ac:spMkLst>
        </pc:spChg>
        <pc:spChg chg="add del mod modVis">
          <ac:chgData name="Joan Viladomiu Tora" userId="769a1043-f370-4a5b-a0e1-4e76db633912" providerId="ADAL" clId="{B72382DE-DD2E-41EE-B7A2-9D431A601203}" dt="2022-11-23T22:21:09.927" v="7126"/>
          <ac:spMkLst>
            <pc:docMk/>
            <pc:sldMk cId="1641666667" sldId="271"/>
            <ac:spMk id="17" creationId="{830E236D-32E7-48DD-B310-D1CB928A4769}"/>
          </ac:spMkLst>
        </pc:spChg>
        <pc:spChg chg="add del mod modVis">
          <ac:chgData name="Joan Viladomiu Tora" userId="769a1043-f370-4a5b-a0e1-4e76db633912" providerId="ADAL" clId="{B72382DE-DD2E-41EE-B7A2-9D431A601203}" dt="2022-11-23T22:21:10.605" v="7199"/>
          <ac:spMkLst>
            <pc:docMk/>
            <pc:sldMk cId="1641666667" sldId="271"/>
            <ac:spMk id="18" creationId="{97766C59-8760-4740-B87E-45296B3AB530}"/>
          </ac:spMkLst>
        </pc:spChg>
        <pc:spChg chg="add del mod modVis">
          <ac:chgData name="Joan Viladomiu Tora" userId="769a1043-f370-4a5b-a0e1-4e76db633912" providerId="ADAL" clId="{B72382DE-DD2E-41EE-B7A2-9D431A601203}" dt="2022-11-23T22:21:13.216" v="7274"/>
          <ac:spMkLst>
            <pc:docMk/>
            <pc:sldMk cId="1641666667" sldId="271"/>
            <ac:spMk id="19" creationId="{C86790B7-3327-4C3E-A458-7EC918ADF821}"/>
          </ac:spMkLst>
        </pc:spChg>
        <pc:spChg chg="add del mod modVis">
          <ac:chgData name="Joan Viladomiu Tora" userId="769a1043-f370-4a5b-a0e1-4e76db633912" providerId="ADAL" clId="{B72382DE-DD2E-41EE-B7A2-9D431A601203}" dt="2022-11-23T22:21:13.989" v="7347"/>
          <ac:spMkLst>
            <pc:docMk/>
            <pc:sldMk cId="1641666667" sldId="271"/>
            <ac:spMk id="20" creationId="{D835F4DC-2647-4831-A464-EE6F08A7DA81}"/>
          </ac:spMkLst>
        </pc:spChg>
        <pc:spChg chg="add del mod modVis">
          <ac:chgData name="Joan Viladomiu Tora" userId="769a1043-f370-4a5b-a0e1-4e76db633912" providerId="ADAL" clId="{B72382DE-DD2E-41EE-B7A2-9D431A601203}" dt="2022-11-23T22:21:25.300" v="7421"/>
          <ac:spMkLst>
            <pc:docMk/>
            <pc:sldMk cId="1641666667" sldId="271"/>
            <ac:spMk id="21" creationId="{E3BE95E9-0B03-4609-84B9-367C2B710D8B}"/>
          </ac:spMkLst>
        </pc:spChg>
        <pc:spChg chg="add del mod">
          <ac:chgData name="Joan Viladomiu Tora" userId="769a1043-f370-4a5b-a0e1-4e76db633912" providerId="ADAL" clId="{B72382DE-DD2E-41EE-B7A2-9D431A601203}" dt="2022-11-23T22:21:47.051" v="7502" actId="21"/>
          <ac:spMkLst>
            <pc:docMk/>
            <pc:sldMk cId="1641666667" sldId="271"/>
            <ac:spMk id="22" creationId="{0B7829AB-61F1-4791-BE73-07FA21FED59B}"/>
          </ac:spMkLst>
        </pc:spChg>
        <pc:spChg chg="add del mod modVis">
          <ac:chgData name="Joan Viladomiu Tora" userId="769a1043-f370-4a5b-a0e1-4e76db633912" providerId="ADAL" clId="{B72382DE-DD2E-41EE-B7A2-9D431A601203}" dt="2022-11-23T22:21:26.108" v="7494"/>
          <ac:spMkLst>
            <pc:docMk/>
            <pc:sldMk cId="1641666667" sldId="271"/>
            <ac:spMk id="23" creationId="{F1B5058A-FFE1-4A11-8503-D5A3148678B5}"/>
          </ac:spMkLst>
        </pc:spChg>
        <pc:spChg chg="add del mod modVis">
          <ac:chgData name="Joan Viladomiu Tora" userId="769a1043-f370-4a5b-a0e1-4e76db633912" providerId="ADAL" clId="{B72382DE-DD2E-41EE-B7A2-9D431A601203}" dt="2022-11-23T22:21:54.446" v="7543"/>
          <ac:spMkLst>
            <pc:docMk/>
            <pc:sldMk cId="1641666667" sldId="271"/>
            <ac:spMk id="24" creationId="{923DDD71-E923-49B8-818A-9BC2132ACCC8}"/>
          </ac:spMkLst>
        </pc:spChg>
        <pc:spChg chg="add del mod modVis">
          <ac:chgData name="Joan Viladomiu Tora" userId="769a1043-f370-4a5b-a0e1-4e76db633912" providerId="ADAL" clId="{B72382DE-DD2E-41EE-B7A2-9D431A601203}" dt="2022-11-23T22:24:03.335" v="7628"/>
          <ac:spMkLst>
            <pc:docMk/>
            <pc:sldMk cId="1641666667" sldId="271"/>
            <ac:spMk id="25" creationId="{D9630D4C-6EE0-4089-9578-F1B3C3CCF8AD}"/>
          </ac:spMkLst>
        </pc:spChg>
        <pc:spChg chg="add mod ord">
          <ac:chgData name="Joan Viladomiu Tora" userId="769a1043-f370-4a5b-a0e1-4e76db633912" providerId="ADAL" clId="{B72382DE-DD2E-41EE-B7A2-9D431A601203}" dt="2022-11-23T23:00:33.575" v="8634"/>
          <ac:spMkLst>
            <pc:docMk/>
            <pc:sldMk cId="1641666667" sldId="271"/>
            <ac:spMk id="26" creationId="{98C10D04-A1AA-49D2-B2EF-01B3243BC12D}"/>
          </ac:spMkLst>
        </pc:spChg>
        <pc:spChg chg="add del mod modVis">
          <ac:chgData name="Joan Viladomiu Tora" userId="769a1043-f370-4a5b-a0e1-4e76db633912" providerId="ADAL" clId="{B72382DE-DD2E-41EE-B7A2-9D431A601203}" dt="2022-11-23T22:24:13.616" v="7710" actId="962"/>
          <ac:spMkLst>
            <pc:docMk/>
            <pc:sldMk cId="1641666667" sldId="271"/>
            <ac:spMk id="27" creationId="{BE11C5C5-9215-4C90-A1DC-8DBAD52BF49C}"/>
          </ac:spMkLst>
        </pc:spChg>
        <pc:spChg chg="add mod">
          <ac:chgData name="Joan Viladomiu Tora" userId="769a1043-f370-4a5b-a0e1-4e76db633912" providerId="ADAL" clId="{B72382DE-DD2E-41EE-B7A2-9D431A601203}" dt="2022-11-23T22:24:31.493" v="7717" actId="571"/>
          <ac:spMkLst>
            <pc:docMk/>
            <pc:sldMk cId="1641666667" sldId="271"/>
            <ac:spMk id="29" creationId="{FFE8D17F-2024-4871-915F-587D064F54FB}"/>
          </ac:spMkLst>
        </pc:spChg>
        <pc:spChg chg="add mod">
          <ac:chgData name="Joan Viladomiu Tora" userId="769a1043-f370-4a5b-a0e1-4e76db633912" providerId="ADAL" clId="{B72382DE-DD2E-41EE-B7A2-9D431A601203}" dt="2022-11-23T22:24:31.493" v="7717" actId="571"/>
          <ac:spMkLst>
            <pc:docMk/>
            <pc:sldMk cId="1641666667" sldId="271"/>
            <ac:spMk id="30" creationId="{74E2AD7C-3DCA-426A-BB9A-B13AB7D09CDA}"/>
          </ac:spMkLst>
        </pc:spChg>
        <pc:spChg chg="add mod">
          <ac:chgData name="Joan Viladomiu Tora" userId="769a1043-f370-4a5b-a0e1-4e76db633912" providerId="ADAL" clId="{B72382DE-DD2E-41EE-B7A2-9D431A601203}" dt="2022-11-23T22:24:31.493" v="7717" actId="571"/>
          <ac:spMkLst>
            <pc:docMk/>
            <pc:sldMk cId="1641666667" sldId="271"/>
            <ac:spMk id="31" creationId="{53C2561D-17C7-4240-9550-B05DB4F1A16E}"/>
          </ac:spMkLst>
        </pc:spChg>
        <pc:spChg chg="add del mod modVis">
          <ac:chgData name="Joan Viladomiu Tora" userId="769a1043-f370-4a5b-a0e1-4e76db633912" providerId="ADAL" clId="{B72382DE-DD2E-41EE-B7A2-9D431A601203}" dt="2022-11-23T22:24:36.161" v="7758"/>
          <ac:spMkLst>
            <pc:docMk/>
            <pc:sldMk cId="1641666667" sldId="271"/>
            <ac:spMk id="32" creationId="{CC7A9F7B-0C70-40E9-9622-90B482BE68EB}"/>
          </ac:spMkLst>
        </pc:spChg>
        <pc:spChg chg="add del mod modVis">
          <ac:chgData name="Joan Viladomiu Tora" userId="769a1043-f370-4a5b-a0e1-4e76db633912" providerId="ADAL" clId="{B72382DE-DD2E-41EE-B7A2-9D431A601203}" dt="2022-11-23T23:00:14.863" v="8569"/>
          <ac:spMkLst>
            <pc:docMk/>
            <pc:sldMk cId="1641666667" sldId="271"/>
            <ac:spMk id="34" creationId="{B461CBCF-FE72-4985-BD0D-0ADFF5668355}"/>
          </ac:spMkLst>
        </pc:spChg>
        <pc:spChg chg="add del mod modVis">
          <ac:chgData name="Joan Viladomiu Tora" userId="769a1043-f370-4a5b-a0e1-4e76db633912" providerId="ADAL" clId="{B72382DE-DD2E-41EE-B7A2-9D431A601203}" dt="2022-11-23T23:00:33.580" v="8638"/>
          <ac:spMkLst>
            <pc:docMk/>
            <pc:sldMk cId="1641666667" sldId="271"/>
            <ac:spMk id="35" creationId="{3D201752-D057-42B2-A4E9-0248C641B487}"/>
          </ac:spMkLst>
        </pc:spChg>
        <pc:grpChg chg="mod">
          <ac:chgData name="Joan Viladomiu Tora" userId="769a1043-f370-4a5b-a0e1-4e76db633912" providerId="ADAL" clId="{B72382DE-DD2E-41EE-B7A2-9D431A601203}" dt="2022-11-23T22:14:27.067" v="6019"/>
          <ac:grpSpMkLst>
            <pc:docMk/>
            <pc:sldMk cId="1641666667" sldId="271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B72382DE-DD2E-41EE-B7A2-9D431A601203}" dt="2022-11-23T23:00:33.588" v="8640"/>
          <ac:graphicFrameMkLst>
            <pc:docMk/>
            <pc:sldMk cId="1641666667" sldId="271"/>
            <ac:graphicFrameMk id="5" creationId="{031B39ED-941B-40A2-BB3C-B76D12F43DA7}"/>
          </ac:graphicFrameMkLst>
        </pc:graphicFrameChg>
        <pc:picChg chg="mod ord">
          <ac:chgData name="Joan Viladomiu Tora" userId="769a1043-f370-4a5b-a0e1-4e76db633912" providerId="ADAL" clId="{B72382DE-DD2E-41EE-B7A2-9D431A601203}" dt="2022-11-23T23:00:33.573" v="8630"/>
          <ac:picMkLst>
            <pc:docMk/>
            <pc:sldMk cId="1641666667" sldId="271"/>
            <ac:picMk id="28" creationId="{4D0B4D89-D248-4F23-8CBA-EC3EA727D0A6}"/>
          </ac:picMkLst>
        </pc:picChg>
        <pc:picChg chg="add mod ord">
          <ac:chgData name="Joan Viladomiu Tora" userId="769a1043-f370-4a5b-a0e1-4e76db633912" providerId="ADAL" clId="{B72382DE-DD2E-41EE-B7A2-9D431A601203}" dt="2022-11-23T23:00:33.570" v="8626"/>
          <ac:picMkLst>
            <pc:docMk/>
            <pc:sldMk cId="1641666667" sldId="271"/>
            <ac:picMk id="33" creationId="{76FD66F5-6D67-46D2-82F6-0D8DA06CD24B}"/>
          </ac:picMkLst>
        </pc:picChg>
      </pc:sldChg>
      <pc:sldChg chg="addSp delSp modSp add del mod">
        <pc:chgData name="Joan Viladomiu Tora" userId="769a1043-f370-4a5b-a0e1-4e76db633912" providerId="ADAL" clId="{B72382DE-DD2E-41EE-B7A2-9D431A601203}" dt="2022-11-23T22:17:20.279" v="6787" actId="47"/>
        <pc:sldMkLst>
          <pc:docMk/>
          <pc:sldMk cId="1729425699" sldId="272"/>
        </pc:sldMkLst>
        <pc:spChg chg="mod">
          <ac:chgData name="Joan Viladomiu Tora" userId="769a1043-f370-4a5b-a0e1-4e76db633912" providerId="ADAL" clId="{B72382DE-DD2E-41EE-B7A2-9D431A601203}" dt="2022-11-23T22:17:12.251" v="6715" actId="948"/>
          <ac:spMkLst>
            <pc:docMk/>
            <pc:sldMk cId="1729425699" sldId="272"/>
            <ac:spMk id="2" creationId="{F5BEA453-86B2-4D6B-8F50-1355083F9C6F}"/>
          </ac:spMkLst>
        </pc:spChg>
        <pc:spChg chg="mod">
          <ac:chgData name="Joan Viladomiu Tora" userId="769a1043-f370-4a5b-a0e1-4e76db633912" providerId="ADAL" clId="{B72382DE-DD2E-41EE-B7A2-9D431A601203}" dt="2022-11-23T22:16:53.644" v="6640"/>
          <ac:spMkLst>
            <pc:docMk/>
            <pc:sldMk cId="1729425699" sldId="272"/>
            <ac:spMk id="3" creationId="{53C366B4-FEF8-42A4-9EB9-64A743FF12B5}"/>
          </ac:spMkLst>
        </pc:spChg>
        <pc:spChg chg="add del mod modVis">
          <ac:chgData name="Joan Viladomiu Tora" userId="769a1043-f370-4a5b-a0e1-4e76db633912" providerId="ADAL" clId="{B72382DE-DD2E-41EE-B7A2-9D431A601203}" dt="2022-11-23T22:17:03.800" v="6711"/>
          <ac:spMkLst>
            <pc:docMk/>
            <pc:sldMk cId="1729425699" sldId="272"/>
            <ac:spMk id="4" creationId="{CBEAA985-BA8D-4526-8273-F35831B2ADD7}"/>
          </ac:spMkLst>
        </pc:spChg>
        <pc:spChg chg="add del mod modVis">
          <ac:chgData name="Joan Viladomiu Tora" userId="769a1043-f370-4a5b-a0e1-4e76db633912" providerId="ADAL" clId="{B72382DE-DD2E-41EE-B7A2-9D431A601203}" dt="2022-11-23T22:17:12.427" v="6784"/>
          <ac:spMkLst>
            <pc:docMk/>
            <pc:sldMk cId="1729425699" sldId="272"/>
            <ac:spMk id="6" creationId="{63B9D39B-1489-49C2-AEB2-CE2329EFBA36}"/>
          </ac:spMkLst>
        </pc:spChg>
        <pc:grpChg chg="mod">
          <ac:chgData name="Joan Viladomiu Tora" userId="769a1043-f370-4a5b-a0e1-4e76db633912" providerId="ADAL" clId="{B72382DE-DD2E-41EE-B7A2-9D431A601203}" dt="2022-11-23T22:16:53.644" v="6640"/>
          <ac:grpSpMkLst>
            <pc:docMk/>
            <pc:sldMk cId="1729425699" sldId="272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B72382DE-DD2E-41EE-B7A2-9D431A601203}" dt="2022-11-23T22:17:12.433" v="6786"/>
          <ac:graphicFrameMkLst>
            <pc:docMk/>
            <pc:sldMk cId="1729425699" sldId="272"/>
            <ac:graphicFrameMk id="5" creationId="{031B39ED-941B-40A2-BB3C-B76D12F43DA7}"/>
          </ac:graphicFrameMkLst>
        </pc:graphicFrameChg>
        <pc:picChg chg="mod">
          <ac:chgData name="Joan Viladomiu Tora" userId="769a1043-f370-4a5b-a0e1-4e76db633912" providerId="ADAL" clId="{B72382DE-DD2E-41EE-B7A2-9D431A601203}" dt="2022-11-23T22:16:53.644" v="6640"/>
          <ac:picMkLst>
            <pc:docMk/>
            <pc:sldMk cId="1729425699" sldId="272"/>
            <ac:picMk id="28" creationId="{4D0B4D89-D248-4F23-8CBA-EC3EA727D0A6}"/>
          </ac:picMkLst>
        </pc:picChg>
      </pc:sldChg>
      <pc:sldChg chg="modSp add del">
        <pc:chgData name="Joan Viladomiu Tora" userId="769a1043-f370-4a5b-a0e1-4e76db633912" providerId="ADAL" clId="{B72382DE-DD2E-41EE-B7A2-9D431A601203}" dt="2022-11-23T22:16:43.733" v="6637" actId="47"/>
        <pc:sldMkLst>
          <pc:docMk/>
          <pc:sldMk cId="3818991994" sldId="272"/>
        </pc:sldMkLst>
        <pc:spChg chg="mod">
          <ac:chgData name="Joan Viladomiu Tora" userId="769a1043-f370-4a5b-a0e1-4e76db633912" providerId="ADAL" clId="{B72382DE-DD2E-41EE-B7A2-9D431A601203}" dt="2022-11-23T22:15:25.926" v="6113"/>
          <ac:spMkLst>
            <pc:docMk/>
            <pc:sldMk cId="3818991994" sldId="272"/>
            <ac:spMk id="2" creationId="{F5BEA453-86B2-4D6B-8F50-1355083F9C6F}"/>
          </ac:spMkLst>
        </pc:spChg>
        <pc:spChg chg="mod">
          <ac:chgData name="Joan Viladomiu Tora" userId="769a1043-f370-4a5b-a0e1-4e76db633912" providerId="ADAL" clId="{B72382DE-DD2E-41EE-B7A2-9D431A601203}" dt="2022-11-23T22:15:25.926" v="6113"/>
          <ac:spMkLst>
            <pc:docMk/>
            <pc:sldMk cId="3818991994" sldId="272"/>
            <ac:spMk id="3" creationId="{53C366B4-FEF8-42A4-9EB9-64A743FF12B5}"/>
          </ac:spMkLst>
        </pc:spChg>
        <pc:spChg chg="mod">
          <ac:chgData name="Joan Viladomiu Tora" userId="769a1043-f370-4a5b-a0e1-4e76db633912" providerId="ADAL" clId="{B72382DE-DD2E-41EE-B7A2-9D431A601203}" dt="2022-11-23T22:15:25.926" v="6113"/>
          <ac:spMkLst>
            <pc:docMk/>
            <pc:sldMk cId="3818991994" sldId="272"/>
            <ac:spMk id="4" creationId="{32BAFD0C-8DC4-4BAE-8E98-762E0FE29B70}"/>
          </ac:spMkLst>
        </pc:spChg>
        <pc:grpChg chg="mod">
          <ac:chgData name="Joan Viladomiu Tora" userId="769a1043-f370-4a5b-a0e1-4e76db633912" providerId="ADAL" clId="{B72382DE-DD2E-41EE-B7A2-9D431A601203}" dt="2022-11-23T22:15:25.926" v="6113"/>
          <ac:grpSpMkLst>
            <pc:docMk/>
            <pc:sldMk cId="3818991994" sldId="272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B72382DE-DD2E-41EE-B7A2-9D431A601203}" dt="2022-11-23T22:15:25.926" v="6113"/>
          <ac:graphicFrameMkLst>
            <pc:docMk/>
            <pc:sldMk cId="3818991994" sldId="272"/>
            <ac:graphicFrameMk id="5" creationId="{031B39ED-941B-40A2-BB3C-B76D12F43DA7}"/>
          </ac:graphicFrameMkLst>
        </pc:graphicFrameChg>
        <pc:picChg chg="mod">
          <ac:chgData name="Joan Viladomiu Tora" userId="769a1043-f370-4a5b-a0e1-4e76db633912" providerId="ADAL" clId="{B72382DE-DD2E-41EE-B7A2-9D431A601203}" dt="2022-11-23T22:15:25.926" v="6113"/>
          <ac:picMkLst>
            <pc:docMk/>
            <pc:sldMk cId="3818991994" sldId="272"/>
            <ac:picMk id="28" creationId="{4D0B4D89-D248-4F23-8CBA-EC3EA727D0A6}"/>
          </ac:picMkLst>
        </pc:picChg>
      </pc:sldChg>
      <pc:sldChg chg="modSp add del mod ord modTransition modShow">
        <pc:chgData name="Joan Viladomiu Tora" userId="769a1043-f370-4a5b-a0e1-4e76db633912" providerId="ADAL" clId="{B72382DE-DD2E-41EE-B7A2-9D431A601203}" dt="2022-11-23T23:03:25.262" v="8651" actId="47"/>
        <pc:sldMkLst>
          <pc:docMk/>
          <pc:sldMk cId="4041379621" sldId="272"/>
        </pc:sldMkLst>
        <pc:spChg chg="mod">
          <ac:chgData name="Joan Viladomiu Tora" userId="769a1043-f370-4a5b-a0e1-4e76db633912" providerId="ADAL" clId="{B72382DE-DD2E-41EE-B7A2-9D431A601203}" dt="2022-11-23T22:20:44.347" v="6802"/>
          <ac:spMkLst>
            <pc:docMk/>
            <pc:sldMk cId="4041379621" sldId="272"/>
            <ac:spMk id="2" creationId="{F5BEA453-86B2-4D6B-8F50-1355083F9C6F}"/>
          </ac:spMkLst>
        </pc:spChg>
        <pc:spChg chg="mod">
          <ac:chgData name="Joan Viladomiu Tora" userId="769a1043-f370-4a5b-a0e1-4e76db633912" providerId="ADAL" clId="{B72382DE-DD2E-41EE-B7A2-9D431A601203}" dt="2022-11-23T22:20:44.347" v="6802"/>
          <ac:spMkLst>
            <pc:docMk/>
            <pc:sldMk cId="4041379621" sldId="272"/>
            <ac:spMk id="3" creationId="{53C366B4-FEF8-42A4-9EB9-64A743FF12B5}"/>
          </ac:spMkLst>
        </pc:spChg>
        <pc:grpChg chg="mod">
          <ac:chgData name="Joan Viladomiu Tora" userId="769a1043-f370-4a5b-a0e1-4e76db633912" providerId="ADAL" clId="{B72382DE-DD2E-41EE-B7A2-9D431A601203}" dt="2022-11-23T22:20:44.347" v="6802"/>
          <ac:grpSpMkLst>
            <pc:docMk/>
            <pc:sldMk cId="4041379621" sldId="272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B72382DE-DD2E-41EE-B7A2-9D431A601203}" dt="2022-11-23T22:20:44.347" v="6802"/>
          <ac:graphicFrameMkLst>
            <pc:docMk/>
            <pc:sldMk cId="4041379621" sldId="272"/>
            <ac:graphicFrameMk id="5" creationId="{031B39ED-941B-40A2-BB3C-B76D12F43DA7}"/>
          </ac:graphicFrameMkLst>
        </pc:graphicFrameChg>
        <pc:picChg chg="mod">
          <ac:chgData name="Joan Viladomiu Tora" userId="769a1043-f370-4a5b-a0e1-4e76db633912" providerId="ADAL" clId="{B72382DE-DD2E-41EE-B7A2-9D431A601203}" dt="2022-11-23T22:20:44.347" v="6802"/>
          <ac:picMkLst>
            <pc:docMk/>
            <pc:sldMk cId="4041379621" sldId="272"/>
            <ac:picMk id="28" creationId="{4D0B4D89-D248-4F23-8CBA-EC3EA727D0A6}"/>
          </ac:picMkLst>
        </pc:picChg>
      </pc:sldChg>
      <pc:sldChg chg="modSp add mod">
        <pc:chgData name="Joan Viladomiu Tora" userId="769a1043-f370-4a5b-a0e1-4e76db633912" providerId="ADAL" clId="{B72382DE-DD2E-41EE-B7A2-9D431A601203}" dt="2022-11-23T22:45:39.079" v="8390" actId="20577"/>
        <pc:sldMkLst>
          <pc:docMk/>
          <pc:sldMk cId="3265055301" sldId="273"/>
        </pc:sldMkLst>
        <pc:spChg chg="mod">
          <ac:chgData name="Joan Viladomiu Tora" userId="769a1043-f370-4a5b-a0e1-4e76db633912" providerId="ADAL" clId="{B72382DE-DD2E-41EE-B7A2-9D431A601203}" dt="2022-11-23T22:42:20.899" v="8281"/>
          <ac:spMkLst>
            <pc:docMk/>
            <pc:sldMk cId="3265055301" sldId="273"/>
            <ac:spMk id="2" creationId="{9AB591CE-E7CD-4793-B511-01EEF4704C68}"/>
          </ac:spMkLst>
        </pc:spChg>
        <pc:spChg chg="mod">
          <ac:chgData name="Joan Viladomiu Tora" userId="769a1043-f370-4a5b-a0e1-4e76db633912" providerId="ADAL" clId="{B72382DE-DD2E-41EE-B7A2-9D431A601203}" dt="2022-11-23T22:42:20.899" v="8281"/>
          <ac:spMkLst>
            <pc:docMk/>
            <pc:sldMk cId="3265055301" sldId="273"/>
            <ac:spMk id="4" creationId="{392DC524-ED47-43E5-AB29-FC6934A0BD14}"/>
          </ac:spMkLst>
        </pc:spChg>
        <pc:spChg chg="mod">
          <ac:chgData name="Joan Viladomiu Tora" userId="769a1043-f370-4a5b-a0e1-4e76db633912" providerId="ADAL" clId="{B72382DE-DD2E-41EE-B7A2-9D431A601203}" dt="2022-11-23T22:42:20.899" v="8281"/>
          <ac:spMkLst>
            <pc:docMk/>
            <pc:sldMk cId="3265055301" sldId="273"/>
            <ac:spMk id="5" creationId="{58E72ED5-6DEA-4E02-924F-08425D78FBA9}"/>
          </ac:spMkLst>
        </pc:spChg>
        <pc:spChg chg="mod">
          <ac:chgData name="Joan Viladomiu Tora" userId="769a1043-f370-4a5b-a0e1-4e76db633912" providerId="ADAL" clId="{B72382DE-DD2E-41EE-B7A2-9D431A601203}" dt="2022-11-23T22:42:20.899" v="8281"/>
          <ac:spMkLst>
            <pc:docMk/>
            <pc:sldMk cId="3265055301" sldId="273"/>
            <ac:spMk id="6" creationId="{729B4F23-6E73-4CA6-81B1-72E7D1FD79B5}"/>
          </ac:spMkLst>
        </pc:spChg>
        <pc:spChg chg="mod">
          <ac:chgData name="Joan Viladomiu Tora" userId="769a1043-f370-4a5b-a0e1-4e76db633912" providerId="ADAL" clId="{B72382DE-DD2E-41EE-B7A2-9D431A601203}" dt="2022-11-23T22:45:39.079" v="8390" actId="20577"/>
          <ac:spMkLst>
            <pc:docMk/>
            <pc:sldMk cId="3265055301" sldId="273"/>
            <ac:spMk id="8" creationId="{7D4CB53B-440D-43AA-97A4-B43AEFB0341D}"/>
          </ac:spMkLst>
        </pc:spChg>
        <pc:spChg chg="mod">
          <ac:chgData name="Joan Viladomiu Tora" userId="769a1043-f370-4a5b-a0e1-4e76db633912" providerId="ADAL" clId="{B72382DE-DD2E-41EE-B7A2-9D431A601203}" dt="2022-11-23T22:42:20.899" v="8281"/>
          <ac:spMkLst>
            <pc:docMk/>
            <pc:sldMk cId="3265055301" sldId="273"/>
            <ac:spMk id="14" creationId="{B5E336B9-ED1D-454B-BCCF-FC8CD5975228}"/>
          </ac:spMkLst>
        </pc:spChg>
        <pc:spChg chg="mod">
          <ac:chgData name="Joan Viladomiu Tora" userId="769a1043-f370-4a5b-a0e1-4e76db633912" providerId="ADAL" clId="{B72382DE-DD2E-41EE-B7A2-9D431A601203}" dt="2022-11-23T22:42:20.899" v="8281"/>
          <ac:spMkLst>
            <pc:docMk/>
            <pc:sldMk cId="3265055301" sldId="273"/>
            <ac:spMk id="15" creationId="{A7E0C103-F1D2-4126-A0AE-98E6EE4F0CCE}"/>
          </ac:spMkLst>
        </pc:spChg>
        <pc:spChg chg="mod">
          <ac:chgData name="Joan Viladomiu Tora" userId="769a1043-f370-4a5b-a0e1-4e76db633912" providerId="ADAL" clId="{B72382DE-DD2E-41EE-B7A2-9D431A601203}" dt="2022-11-23T22:42:20.899" v="8281"/>
          <ac:spMkLst>
            <pc:docMk/>
            <pc:sldMk cId="3265055301" sldId="273"/>
            <ac:spMk id="17" creationId="{5A173CE9-C5A9-44C7-94C1-5148588C74D1}"/>
          </ac:spMkLst>
        </pc:spChg>
        <pc:spChg chg="mod">
          <ac:chgData name="Joan Viladomiu Tora" userId="769a1043-f370-4a5b-a0e1-4e76db633912" providerId="ADAL" clId="{B72382DE-DD2E-41EE-B7A2-9D431A601203}" dt="2022-11-23T22:42:20.899" v="8281"/>
          <ac:spMkLst>
            <pc:docMk/>
            <pc:sldMk cId="3265055301" sldId="273"/>
            <ac:spMk id="19" creationId="{01FE285D-8F4E-4C47-A5B2-62058810ADDE}"/>
          </ac:spMkLst>
        </pc:spChg>
        <pc:spChg chg="mod">
          <ac:chgData name="Joan Viladomiu Tora" userId="769a1043-f370-4a5b-a0e1-4e76db633912" providerId="ADAL" clId="{B72382DE-DD2E-41EE-B7A2-9D431A601203}" dt="2022-11-23T22:42:20.899" v="8281"/>
          <ac:spMkLst>
            <pc:docMk/>
            <pc:sldMk cId="3265055301" sldId="273"/>
            <ac:spMk id="24" creationId="{2B71ADF5-9050-424D-A067-A0111E2113C6}"/>
          </ac:spMkLst>
        </pc:spChg>
        <pc:spChg chg="mod">
          <ac:chgData name="Joan Viladomiu Tora" userId="769a1043-f370-4a5b-a0e1-4e76db633912" providerId="ADAL" clId="{B72382DE-DD2E-41EE-B7A2-9D431A601203}" dt="2022-11-23T22:42:20.899" v="8281"/>
          <ac:spMkLst>
            <pc:docMk/>
            <pc:sldMk cId="3265055301" sldId="273"/>
            <ac:spMk id="25" creationId="{C5927A2D-9540-40DB-A497-AE68B4C5C434}"/>
          </ac:spMkLst>
        </pc:spChg>
        <pc:spChg chg="mod">
          <ac:chgData name="Joan Viladomiu Tora" userId="769a1043-f370-4a5b-a0e1-4e76db633912" providerId="ADAL" clId="{B72382DE-DD2E-41EE-B7A2-9D431A601203}" dt="2022-11-23T22:42:20.899" v="8281"/>
          <ac:spMkLst>
            <pc:docMk/>
            <pc:sldMk cId="3265055301" sldId="273"/>
            <ac:spMk id="28" creationId="{C8338F1F-A5A0-46F4-B510-5154A26FEA96}"/>
          </ac:spMkLst>
        </pc:spChg>
        <pc:grpChg chg="mod">
          <ac:chgData name="Joan Viladomiu Tora" userId="769a1043-f370-4a5b-a0e1-4e76db633912" providerId="ADAL" clId="{B72382DE-DD2E-41EE-B7A2-9D431A601203}" dt="2022-11-23T22:42:20.899" v="8281"/>
          <ac:grpSpMkLst>
            <pc:docMk/>
            <pc:sldMk cId="3265055301" sldId="273"/>
            <ac:grpSpMk id="1" creationId="{00000000-0000-0000-0000-000000000000}"/>
          </ac:grpSpMkLst>
        </pc:grpChg>
        <pc:grpChg chg="mod">
          <ac:chgData name="Joan Viladomiu Tora" userId="769a1043-f370-4a5b-a0e1-4e76db633912" providerId="ADAL" clId="{B72382DE-DD2E-41EE-B7A2-9D431A601203}" dt="2022-11-23T22:44:29.346" v="8382" actId="14861"/>
          <ac:grpSpMkLst>
            <pc:docMk/>
            <pc:sldMk cId="3265055301" sldId="273"/>
            <ac:grpSpMk id="20" creationId="{025C1974-CC85-47CA-AB07-7552CBF3CA7B}"/>
          </ac:grpSpMkLst>
        </pc:grpChg>
        <pc:grpChg chg="mod">
          <ac:chgData name="Joan Viladomiu Tora" userId="769a1043-f370-4a5b-a0e1-4e76db633912" providerId="ADAL" clId="{B72382DE-DD2E-41EE-B7A2-9D431A601203}" dt="2022-11-23T22:44:29.346" v="8382" actId="14861"/>
          <ac:grpSpMkLst>
            <pc:docMk/>
            <pc:sldMk cId="3265055301" sldId="273"/>
            <ac:grpSpMk id="21" creationId="{7C68B53F-2752-4546-BE0D-895F56F8BDE7}"/>
          </ac:grpSpMkLst>
        </pc:grpChg>
        <pc:grpChg chg="mod">
          <ac:chgData name="Joan Viladomiu Tora" userId="769a1043-f370-4a5b-a0e1-4e76db633912" providerId="ADAL" clId="{B72382DE-DD2E-41EE-B7A2-9D431A601203}" dt="2022-11-23T22:44:29.346" v="8382" actId="14861"/>
          <ac:grpSpMkLst>
            <pc:docMk/>
            <pc:sldMk cId="3265055301" sldId="273"/>
            <ac:grpSpMk id="22" creationId="{1DF6FB86-1CC8-4547-B84C-16C04BB85650}"/>
          </ac:grpSpMkLst>
        </pc:grpChg>
        <pc:graphicFrameChg chg="mod">
          <ac:chgData name="Joan Viladomiu Tora" userId="769a1043-f370-4a5b-a0e1-4e76db633912" providerId="ADAL" clId="{B72382DE-DD2E-41EE-B7A2-9D431A601203}" dt="2022-11-23T22:42:20.899" v="8281"/>
          <ac:graphicFrameMkLst>
            <pc:docMk/>
            <pc:sldMk cId="3265055301" sldId="273"/>
            <ac:graphicFrameMk id="7" creationId="{0F736897-BFA9-41AC-9FCD-17A27AC24D30}"/>
          </ac:graphicFrameMkLst>
        </pc:graphicFrameChg>
        <pc:picChg chg="mod">
          <ac:chgData name="Joan Viladomiu Tora" userId="769a1043-f370-4a5b-a0e1-4e76db633912" providerId="ADAL" clId="{B72382DE-DD2E-41EE-B7A2-9D431A601203}" dt="2022-11-23T22:42:20.899" v="8281"/>
          <ac:picMkLst>
            <pc:docMk/>
            <pc:sldMk cId="3265055301" sldId="273"/>
            <ac:picMk id="10" creationId="{791B9BD6-BFA9-4333-B563-60292C7FB45A}"/>
          </ac:picMkLst>
        </pc:picChg>
        <pc:picChg chg="mod">
          <ac:chgData name="Joan Viladomiu Tora" userId="769a1043-f370-4a5b-a0e1-4e76db633912" providerId="ADAL" clId="{B72382DE-DD2E-41EE-B7A2-9D431A601203}" dt="2022-11-23T22:42:20.899" v="8281"/>
          <ac:picMkLst>
            <pc:docMk/>
            <pc:sldMk cId="3265055301" sldId="273"/>
            <ac:picMk id="16" creationId="{40098F37-8D30-4414-B42D-5D9E10A6D1FB}"/>
          </ac:picMkLst>
        </pc:picChg>
        <pc:picChg chg="mod">
          <ac:chgData name="Joan Viladomiu Tora" userId="769a1043-f370-4a5b-a0e1-4e76db633912" providerId="ADAL" clId="{B72382DE-DD2E-41EE-B7A2-9D431A601203}" dt="2022-11-23T22:42:20.899" v="8281"/>
          <ac:picMkLst>
            <pc:docMk/>
            <pc:sldMk cId="3265055301" sldId="273"/>
            <ac:picMk id="18" creationId="{B7EB6BC2-A2F2-4E7C-A707-A2FC40AF2868}"/>
          </ac:picMkLst>
        </pc:picChg>
      </pc:sldChg>
      <pc:sldChg chg="delSp modSp add del">
        <pc:chgData name="Joan Viladomiu Tora" userId="769a1043-f370-4a5b-a0e1-4e76db633912" providerId="ADAL" clId="{B72382DE-DD2E-41EE-B7A2-9D431A601203}" dt="2022-11-23T22:42:15.663" v="8279" actId="47"/>
        <pc:sldMkLst>
          <pc:docMk/>
          <pc:sldMk cId="3340464214" sldId="273"/>
        </pc:sldMkLst>
        <pc:spChg chg="mod">
          <ac:chgData name="Joan Viladomiu Tora" userId="769a1043-f370-4a5b-a0e1-4e76db633912" providerId="ADAL" clId="{B72382DE-DD2E-41EE-B7A2-9D431A601203}" dt="2022-11-23T22:41:49.692" v="8277"/>
          <ac:spMkLst>
            <pc:docMk/>
            <pc:sldMk cId="3340464214" sldId="273"/>
            <ac:spMk id="2" creationId="{9AB591CE-E7CD-4793-B511-01EEF4704C68}"/>
          </ac:spMkLst>
        </pc:spChg>
        <pc:spChg chg="mod topLvl">
          <ac:chgData name="Joan Viladomiu Tora" userId="769a1043-f370-4a5b-a0e1-4e76db633912" providerId="ADAL" clId="{B72382DE-DD2E-41EE-B7A2-9D431A601203}" dt="2022-11-23T22:41:59.122" v="8278" actId="165"/>
          <ac:spMkLst>
            <pc:docMk/>
            <pc:sldMk cId="3340464214" sldId="273"/>
            <ac:spMk id="4" creationId="{392DC524-ED47-43E5-AB29-FC6934A0BD14}"/>
          </ac:spMkLst>
        </pc:spChg>
        <pc:spChg chg="mod topLvl">
          <ac:chgData name="Joan Viladomiu Tora" userId="769a1043-f370-4a5b-a0e1-4e76db633912" providerId="ADAL" clId="{B72382DE-DD2E-41EE-B7A2-9D431A601203}" dt="2022-11-23T22:41:59.122" v="8278" actId="165"/>
          <ac:spMkLst>
            <pc:docMk/>
            <pc:sldMk cId="3340464214" sldId="273"/>
            <ac:spMk id="5" creationId="{58E72ED5-6DEA-4E02-924F-08425D78FBA9}"/>
          </ac:spMkLst>
        </pc:spChg>
        <pc:spChg chg="mod topLvl">
          <ac:chgData name="Joan Viladomiu Tora" userId="769a1043-f370-4a5b-a0e1-4e76db633912" providerId="ADAL" clId="{B72382DE-DD2E-41EE-B7A2-9D431A601203}" dt="2022-11-23T22:41:59.122" v="8278" actId="165"/>
          <ac:spMkLst>
            <pc:docMk/>
            <pc:sldMk cId="3340464214" sldId="273"/>
            <ac:spMk id="6" creationId="{729B4F23-6E73-4CA6-81B1-72E7D1FD79B5}"/>
          </ac:spMkLst>
        </pc:spChg>
        <pc:spChg chg="mod">
          <ac:chgData name="Joan Viladomiu Tora" userId="769a1043-f370-4a5b-a0e1-4e76db633912" providerId="ADAL" clId="{B72382DE-DD2E-41EE-B7A2-9D431A601203}" dt="2022-11-23T22:41:49.692" v="8277"/>
          <ac:spMkLst>
            <pc:docMk/>
            <pc:sldMk cId="3340464214" sldId="273"/>
            <ac:spMk id="8" creationId="{7D4CB53B-440D-43AA-97A4-B43AEFB0341D}"/>
          </ac:spMkLst>
        </pc:spChg>
        <pc:spChg chg="mod">
          <ac:chgData name="Joan Viladomiu Tora" userId="769a1043-f370-4a5b-a0e1-4e76db633912" providerId="ADAL" clId="{B72382DE-DD2E-41EE-B7A2-9D431A601203}" dt="2022-11-23T22:41:49.692" v="8277"/>
          <ac:spMkLst>
            <pc:docMk/>
            <pc:sldMk cId="3340464214" sldId="273"/>
            <ac:spMk id="14" creationId="{B5E336B9-ED1D-454B-BCCF-FC8CD5975228}"/>
          </ac:spMkLst>
        </pc:spChg>
        <pc:spChg chg="mod topLvl">
          <ac:chgData name="Joan Viladomiu Tora" userId="769a1043-f370-4a5b-a0e1-4e76db633912" providerId="ADAL" clId="{B72382DE-DD2E-41EE-B7A2-9D431A601203}" dt="2022-11-23T22:41:59.122" v="8278" actId="165"/>
          <ac:spMkLst>
            <pc:docMk/>
            <pc:sldMk cId="3340464214" sldId="273"/>
            <ac:spMk id="15" creationId="{A7E0C103-F1D2-4126-A0AE-98E6EE4F0CCE}"/>
          </ac:spMkLst>
        </pc:spChg>
        <pc:spChg chg="mod topLvl">
          <ac:chgData name="Joan Viladomiu Tora" userId="769a1043-f370-4a5b-a0e1-4e76db633912" providerId="ADAL" clId="{B72382DE-DD2E-41EE-B7A2-9D431A601203}" dt="2022-11-23T22:41:59.122" v="8278" actId="165"/>
          <ac:spMkLst>
            <pc:docMk/>
            <pc:sldMk cId="3340464214" sldId="273"/>
            <ac:spMk id="17" creationId="{5A173CE9-C5A9-44C7-94C1-5148588C74D1}"/>
          </ac:spMkLst>
        </pc:spChg>
        <pc:spChg chg="mod topLvl">
          <ac:chgData name="Joan Viladomiu Tora" userId="769a1043-f370-4a5b-a0e1-4e76db633912" providerId="ADAL" clId="{B72382DE-DD2E-41EE-B7A2-9D431A601203}" dt="2022-11-23T22:41:59.122" v="8278" actId="165"/>
          <ac:spMkLst>
            <pc:docMk/>
            <pc:sldMk cId="3340464214" sldId="273"/>
            <ac:spMk id="19" creationId="{01FE285D-8F4E-4C47-A5B2-62058810ADDE}"/>
          </ac:spMkLst>
        </pc:spChg>
        <pc:spChg chg="mod">
          <ac:chgData name="Joan Viladomiu Tora" userId="769a1043-f370-4a5b-a0e1-4e76db633912" providerId="ADAL" clId="{B72382DE-DD2E-41EE-B7A2-9D431A601203}" dt="2022-11-23T22:41:49.692" v="8277"/>
          <ac:spMkLst>
            <pc:docMk/>
            <pc:sldMk cId="3340464214" sldId="273"/>
            <ac:spMk id="24" creationId="{2B71ADF5-9050-424D-A067-A0111E2113C6}"/>
          </ac:spMkLst>
        </pc:spChg>
        <pc:spChg chg="mod">
          <ac:chgData name="Joan Viladomiu Tora" userId="769a1043-f370-4a5b-a0e1-4e76db633912" providerId="ADAL" clId="{B72382DE-DD2E-41EE-B7A2-9D431A601203}" dt="2022-11-23T22:41:49.692" v="8277"/>
          <ac:spMkLst>
            <pc:docMk/>
            <pc:sldMk cId="3340464214" sldId="273"/>
            <ac:spMk id="25" creationId="{C5927A2D-9540-40DB-A497-AE68B4C5C434}"/>
          </ac:spMkLst>
        </pc:spChg>
        <pc:spChg chg="mod">
          <ac:chgData name="Joan Viladomiu Tora" userId="769a1043-f370-4a5b-a0e1-4e76db633912" providerId="ADAL" clId="{B72382DE-DD2E-41EE-B7A2-9D431A601203}" dt="2022-11-23T22:41:49.692" v="8277"/>
          <ac:spMkLst>
            <pc:docMk/>
            <pc:sldMk cId="3340464214" sldId="273"/>
            <ac:spMk id="28" creationId="{C8338F1F-A5A0-46F4-B510-5154A26FEA96}"/>
          </ac:spMkLst>
        </pc:spChg>
        <pc:grpChg chg="mod">
          <ac:chgData name="Joan Viladomiu Tora" userId="769a1043-f370-4a5b-a0e1-4e76db633912" providerId="ADAL" clId="{B72382DE-DD2E-41EE-B7A2-9D431A601203}" dt="2022-11-23T22:41:49.692" v="8277"/>
          <ac:grpSpMkLst>
            <pc:docMk/>
            <pc:sldMk cId="3340464214" sldId="273"/>
            <ac:grpSpMk id="1" creationId="{00000000-0000-0000-0000-000000000000}"/>
          </ac:grpSpMkLst>
        </pc:grpChg>
        <pc:grpChg chg="del mod">
          <ac:chgData name="Joan Viladomiu Tora" userId="769a1043-f370-4a5b-a0e1-4e76db633912" providerId="ADAL" clId="{B72382DE-DD2E-41EE-B7A2-9D431A601203}" dt="2022-11-23T22:41:59.122" v="8278" actId="165"/>
          <ac:grpSpMkLst>
            <pc:docMk/>
            <pc:sldMk cId="3340464214" sldId="273"/>
            <ac:grpSpMk id="20" creationId="{025C1974-CC85-47CA-AB07-7552CBF3CA7B}"/>
          </ac:grpSpMkLst>
        </pc:grpChg>
        <pc:grpChg chg="del mod">
          <ac:chgData name="Joan Viladomiu Tora" userId="769a1043-f370-4a5b-a0e1-4e76db633912" providerId="ADAL" clId="{B72382DE-DD2E-41EE-B7A2-9D431A601203}" dt="2022-11-23T22:41:59.122" v="8278" actId="165"/>
          <ac:grpSpMkLst>
            <pc:docMk/>
            <pc:sldMk cId="3340464214" sldId="273"/>
            <ac:grpSpMk id="21" creationId="{7C68B53F-2752-4546-BE0D-895F56F8BDE7}"/>
          </ac:grpSpMkLst>
        </pc:grpChg>
        <pc:grpChg chg="del mod">
          <ac:chgData name="Joan Viladomiu Tora" userId="769a1043-f370-4a5b-a0e1-4e76db633912" providerId="ADAL" clId="{B72382DE-DD2E-41EE-B7A2-9D431A601203}" dt="2022-11-23T22:41:59.122" v="8278" actId="165"/>
          <ac:grpSpMkLst>
            <pc:docMk/>
            <pc:sldMk cId="3340464214" sldId="273"/>
            <ac:grpSpMk id="22" creationId="{1DF6FB86-1CC8-4547-B84C-16C04BB85650}"/>
          </ac:grpSpMkLst>
        </pc:grpChg>
        <pc:graphicFrameChg chg="mod">
          <ac:chgData name="Joan Viladomiu Tora" userId="769a1043-f370-4a5b-a0e1-4e76db633912" providerId="ADAL" clId="{B72382DE-DD2E-41EE-B7A2-9D431A601203}" dt="2022-11-23T22:41:49.692" v="8277"/>
          <ac:graphicFrameMkLst>
            <pc:docMk/>
            <pc:sldMk cId="3340464214" sldId="273"/>
            <ac:graphicFrameMk id="7" creationId="{0F736897-BFA9-41AC-9FCD-17A27AC24D30}"/>
          </ac:graphicFrameMkLst>
        </pc:graphicFrameChg>
        <pc:picChg chg="mod">
          <ac:chgData name="Joan Viladomiu Tora" userId="769a1043-f370-4a5b-a0e1-4e76db633912" providerId="ADAL" clId="{B72382DE-DD2E-41EE-B7A2-9D431A601203}" dt="2022-11-23T22:41:49.692" v="8277"/>
          <ac:picMkLst>
            <pc:docMk/>
            <pc:sldMk cId="3340464214" sldId="273"/>
            <ac:picMk id="10" creationId="{791B9BD6-BFA9-4333-B563-60292C7FB45A}"/>
          </ac:picMkLst>
        </pc:picChg>
        <pc:picChg chg="mod">
          <ac:chgData name="Joan Viladomiu Tora" userId="769a1043-f370-4a5b-a0e1-4e76db633912" providerId="ADAL" clId="{B72382DE-DD2E-41EE-B7A2-9D431A601203}" dt="2022-11-23T22:41:49.692" v="8277"/>
          <ac:picMkLst>
            <pc:docMk/>
            <pc:sldMk cId="3340464214" sldId="273"/>
            <ac:picMk id="16" creationId="{40098F37-8D30-4414-B42D-5D9E10A6D1FB}"/>
          </ac:picMkLst>
        </pc:picChg>
        <pc:picChg chg="mod">
          <ac:chgData name="Joan Viladomiu Tora" userId="769a1043-f370-4a5b-a0e1-4e76db633912" providerId="ADAL" clId="{B72382DE-DD2E-41EE-B7A2-9D431A601203}" dt="2022-11-23T22:41:49.692" v="8277"/>
          <ac:picMkLst>
            <pc:docMk/>
            <pc:sldMk cId="3340464214" sldId="273"/>
            <ac:picMk id="18" creationId="{B7EB6BC2-A2F2-4E7C-A707-A2FC40AF2868}"/>
          </ac:picMkLst>
        </pc:picChg>
      </pc:sldChg>
      <pc:sldChg chg="addSp delSp modSp mod ord modTransition modShow">
        <pc:chgData name="Joan Viladomiu Tora" userId="769a1043-f370-4a5b-a0e1-4e76db633912" providerId="ADAL" clId="{B72382DE-DD2E-41EE-B7A2-9D431A601203}" dt="2022-11-24T12:50:37.666" v="13320" actId="14100"/>
        <pc:sldMkLst>
          <pc:docMk/>
          <pc:sldMk cId="3871465549" sldId="274"/>
        </pc:sldMkLst>
        <pc:spChg chg="mod">
          <ac:chgData name="Joan Viladomiu Tora" userId="769a1043-f370-4a5b-a0e1-4e76db633912" providerId="ADAL" clId="{B72382DE-DD2E-41EE-B7A2-9D431A601203}" dt="2022-11-24T12:33:22.664" v="12878" actId="948"/>
          <ac:spMkLst>
            <pc:docMk/>
            <pc:sldMk cId="3871465549" sldId="274"/>
            <ac:spMk id="2" creationId="{84A5015E-2AA8-4213-8A2B-C3E5BDBF76A1}"/>
          </ac:spMkLst>
        </pc:spChg>
        <pc:spChg chg="add del mod modVis">
          <ac:chgData name="Joan Viladomiu Tora" userId="769a1043-f370-4a5b-a0e1-4e76db633912" providerId="ADAL" clId="{B72382DE-DD2E-41EE-B7A2-9D431A601203}" dt="2022-11-24T12:32:52.620" v="12615"/>
          <ac:spMkLst>
            <pc:docMk/>
            <pc:sldMk cId="3871465549" sldId="274"/>
            <ac:spMk id="3" creationId="{5194C9FC-EC27-491B-A6B2-FB94C3329B68}"/>
          </ac:spMkLst>
        </pc:spChg>
        <pc:spChg chg="add del mod modVis">
          <ac:chgData name="Joan Viladomiu Tora" userId="769a1043-f370-4a5b-a0e1-4e76db633912" providerId="ADAL" clId="{B72382DE-DD2E-41EE-B7A2-9D431A601203}" dt="2022-11-24T12:33:14.924" v="12831"/>
          <ac:spMkLst>
            <pc:docMk/>
            <pc:sldMk cId="3871465549" sldId="274"/>
            <ac:spMk id="5" creationId="{0BD3AD87-E9D2-4C3E-8270-7855521D7B6F}"/>
          </ac:spMkLst>
        </pc:spChg>
        <pc:spChg chg="add del mod modVis">
          <ac:chgData name="Joan Viladomiu Tora" userId="769a1043-f370-4a5b-a0e1-4e76db633912" providerId="ADAL" clId="{B72382DE-DD2E-41EE-B7A2-9D431A601203}" dt="2022-11-24T12:33:22.043" v="12874"/>
          <ac:spMkLst>
            <pc:docMk/>
            <pc:sldMk cId="3871465549" sldId="274"/>
            <ac:spMk id="7" creationId="{9CB0BEFC-180D-43B7-99CE-816FF965B45D}"/>
          </ac:spMkLst>
        </pc:spChg>
        <pc:spChg chg="add del mod modVis">
          <ac:chgData name="Joan Viladomiu Tora" userId="769a1043-f370-4a5b-a0e1-4e76db633912" providerId="ADAL" clId="{B72382DE-DD2E-41EE-B7A2-9D431A601203}" dt="2022-11-24T12:33:22.774" v="12917"/>
          <ac:spMkLst>
            <pc:docMk/>
            <pc:sldMk cId="3871465549" sldId="274"/>
            <ac:spMk id="8" creationId="{63437F5B-A0B9-489F-ACB7-CAF56B280147}"/>
          </ac:spMkLst>
        </pc:spChg>
        <pc:spChg chg="del mod">
          <ac:chgData name="Joan Viladomiu Tora" userId="769a1043-f370-4a5b-a0e1-4e76db633912" providerId="ADAL" clId="{B72382DE-DD2E-41EE-B7A2-9D431A601203}" dt="2022-11-24T08:06:16.922" v="10189" actId="478"/>
          <ac:spMkLst>
            <pc:docMk/>
            <pc:sldMk cId="3871465549" sldId="274"/>
            <ac:spMk id="13" creationId="{3D95C96F-A6DA-4A05-90AF-CA9A168E3595}"/>
          </ac:spMkLst>
        </pc:spChg>
        <pc:spChg chg="mod topLvl">
          <ac:chgData name="Joan Viladomiu Tora" userId="769a1043-f370-4a5b-a0e1-4e76db633912" providerId="ADAL" clId="{B72382DE-DD2E-41EE-B7A2-9D431A601203}" dt="2022-11-24T12:50:22.283" v="13318" actId="14100"/>
          <ac:spMkLst>
            <pc:docMk/>
            <pc:sldMk cId="3871465549" sldId="274"/>
            <ac:spMk id="14" creationId="{6E32160E-D95D-4BF8-8BAB-53A7210C7435}"/>
          </ac:spMkLst>
        </pc:spChg>
        <pc:spChg chg="mod topLvl">
          <ac:chgData name="Joan Viladomiu Tora" userId="769a1043-f370-4a5b-a0e1-4e76db633912" providerId="ADAL" clId="{B72382DE-DD2E-41EE-B7A2-9D431A601203}" dt="2022-11-24T12:50:22.283" v="13318" actId="14100"/>
          <ac:spMkLst>
            <pc:docMk/>
            <pc:sldMk cId="3871465549" sldId="274"/>
            <ac:spMk id="15" creationId="{16AE67B6-CDF6-47F1-B22D-F52CF73D5E54}"/>
          </ac:spMkLst>
        </pc:spChg>
        <pc:spChg chg="mod topLvl">
          <ac:chgData name="Joan Viladomiu Tora" userId="769a1043-f370-4a5b-a0e1-4e76db633912" providerId="ADAL" clId="{B72382DE-DD2E-41EE-B7A2-9D431A601203}" dt="2022-11-24T12:50:22.283" v="13318" actId="14100"/>
          <ac:spMkLst>
            <pc:docMk/>
            <pc:sldMk cId="3871465549" sldId="274"/>
            <ac:spMk id="16" creationId="{975376C4-E370-4DDD-B036-84BAAF13CC87}"/>
          </ac:spMkLst>
        </pc:spChg>
        <pc:spChg chg="mod topLvl">
          <ac:chgData name="Joan Viladomiu Tora" userId="769a1043-f370-4a5b-a0e1-4e76db633912" providerId="ADAL" clId="{B72382DE-DD2E-41EE-B7A2-9D431A601203}" dt="2022-11-24T12:43:27.895" v="13216" actId="1076"/>
          <ac:spMkLst>
            <pc:docMk/>
            <pc:sldMk cId="3871465549" sldId="274"/>
            <ac:spMk id="18" creationId="{3A675BC0-83B7-4C9E-80BB-C94CDD83E2E0}"/>
          </ac:spMkLst>
        </pc:spChg>
        <pc:spChg chg="mod topLvl">
          <ac:chgData name="Joan Viladomiu Tora" userId="769a1043-f370-4a5b-a0e1-4e76db633912" providerId="ADAL" clId="{B72382DE-DD2E-41EE-B7A2-9D431A601203}" dt="2022-11-24T12:43:27.895" v="13216" actId="1076"/>
          <ac:spMkLst>
            <pc:docMk/>
            <pc:sldMk cId="3871465549" sldId="274"/>
            <ac:spMk id="19" creationId="{4847E85A-5980-45B5-9056-3107330A6BED}"/>
          </ac:spMkLst>
        </pc:spChg>
        <pc:spChg chg="mod topLvl">
          <ac:chgData name="Joan Viladomiu Tora" userId="769a1043-f370-4a5b-a0e1-4e76db633912" providerId="ADAL" clId="{B72382DE-DD2E-41EE-B7A2-9D431A601203}" dt="2022-11-24T12:43:27.895" v="13216" actId="1076"/>
          <ac:spMkLst>
            <pc:docMk/>
            <pc:sldMk cId="3871465549" sldId="274"/>
            <ac:spMk id="20" creationId="{B4E62292-B68B-4546-B88D-3299EF598451}"/>
          </ac:spMkLst>
        </pc:spChg>
        <pc:spChg chg="mod topLvl">
          <ac:chgData name="Joan Viladomiu Tora" userId="769a1043-f370-4a5b-a0e1-4e76db633912" providerId="ADAL" clId="{B72382DE-DD2E-41EE-B7A2-9D431A601203}" dt="2022-11-24T12:43:24.124" v="13215" actId="14100"/>
          <ac:spMkLst>
            <pc:docMk/>
            <pc:sldMk cId="3871465549" sldId="274"/>
            <ac:spMk id="21" creationId="{23B91FEC-6888-4251-8AAC-36EECCD4FDA8}"/>
          </ac:spMkLst>
        </pc:spChg>
        <pc:spChg chg="mod topLvl">
          <ac:chgData name="Joan Viladomiu Tora" userId="769a1043-f370-4a5b-a0e1-4e76db633912" providerId="ADAL" clId="{B72382DE-DD2E-41EE-B7A2-9D431A601203}" dt="2022-11-24T12:44:21.102" v="13250" actId="165"/>
          <ac:spMkLst>
            <pc:docMk/>
            <pc:sldMk cId="3871465549" sldId="274"/>
            <ac:spMk id="22" creationId="{2B05FA95-AA0D-49B7-BF34-A4725972E209}"/>
          </ac:spMkLst>
        </pc:spChg>
        <pc:spChg chg="mod topLvl">
          <ac:chgData name="Joan Viladomiu Tora" userId="769a1043-f370-4a5b-a0e1-4e76db633912" providerId="ADAL" clId="{B72382DE-DD2E-41EE-B7A2-9D431A601203}" dt="2022-11-24T12:44:21.102" v="13250" actId="165"/>
          <ac:spMkLst>
            <pc:docMk/>
            <pc:sldMk cId="3871465549" sldId="274"/>
            <ac:spMk id="23" creationId="{3D77AB4D-D745-47AE-AFB8-52C65833757A}"/>
          </ac:spMkLst>
        </pc:spChg>
        <pc:spChg chg="mod topLvl">
          <ac:chgData name="Joan Viladomiu Tora" userId="769a1043-f370-4a5b-a0e1-4e76db633912" providerId="ADAL" clId="{B72382DE-DD2E-41EE-B7A2-9D431A601203}" dt="2022-11-24T12:43:24.124" v="13215" actId="14100"/>
          <ac:spMkLst>
            <pc:docMk/>
            <pc:sldMk cId="3871465549" sldId="274"/>
            <ac:spMk id="24" creationId="{ED2E137F-3C66-446B-9D01-7C20E1990026}"/>
          </ac:spMkLst>
        </pc:spChg>
        <pc:spChg chg="mod topLvl">
          <ac:chgData name="Joan Viladomiu Tora" userId="769a1043-f370-4a5b-a0e1-4e76db633912" providerId="ADAL" clId="{B72382DE-DD2E-41EE-B7A2-9D431A601203}" dt="2022-11-24T12:43:24.124" v="13215" actId="14100"/>
          <ac:spMkLst>
            <pc:docMk/>
            <pc:sldMk cId="3871465549" sldId="274"/>
            <ac:spMk id="25" creationId="{AB195AB4-4C49-42D4-8894-B2E8238F9D91}"/>
          </ac:spMkLst>
        </pc:spChg>
        <pc:spChg chg="add del mod">
          <ac:chgData name="Joan Viladomiu Tora" userId="769a1043-f370-4a5b-a0e1-4e76db633912" providerId="ADAL" clId="{B72382DE-DD2E-41EE-B7A2-9D431A601203}" dt="2022-11-24T12:38:55.203" v="13168" actId="478"/>
          <ac:spMkLst>
            <pc:docMk/>
            <pc:sldMk cId="3871465549" sldId="274"/>
            <ac:spMk id="27" creationId="{A5443271-6F8F-4DB8-B64A-90FCFE9072AE}"/>
          </ac:spMkLst>
        </pc:spChg>
        <pc:spChg chg="add del mod">
          <ac:chgData name="Joan Viladomiu Tora" userId="769a1043-f370-4a5b-a0e1-4e76db633912" providerId="ADAL" clId="{B72382DE-DD2E-41EE-B7A2-9D431A601203}" dt="2022-11-24T12:43:15.523" v="13214" actId="478"/>
          <ac:spMkLst>
            <pc:docMk/>
            <pc:sldMk cId="3871465549" sldId="274"/>
            <ac:spMk id="29" creationId="{4BA2AD2E-5936-488B-AB9E-A24C21C58D70}"/>
          </ac:spMkLst>
        </pc:spChg>
        <pc:spChg chg="mod topLvl">
          <ac:chgData name="Joan Viladomiu Tora" userId="769a1043-f370-4a5b-a0e1-4e76db633912" providerId="ADAL" clId="{B72382DE-DD2E-41EE-B7A2-9D431A601203}" dt="2022-11-24T12:44:21.102" v="13250" actId="165"/>
          <ac:spMkLst>
            <pc:docMk/>
            <pc:sldMk cId="3871465549" sldId="274"/>
            <ac:spMk id="31" creationId="{FFC9EFDC-7E77-4026-9F98-C4435E30F346}"/>
          </ac:spMkLst>
        </pc:spChg>
        <pc:spChg chg="add mod">
          <ac:chgData name="Joan Viladomiu Tora" userId="769a1043-f370-4a5b-a0e1-4e76db633912" providerId="ADAL" clId="{B72382DE-DD2E-41EE-B7A2-9D431A601203}" dt="2022-11-24T12:43:12.887" v="13213"/>
          <ac:spMkLst>
            <pc:docMk/>
            <pc:sldMk cId="3871465549" sldId="274"/>
            <ac:spMk id="33" creationId="{8FEE5C9A-A9D7-49F9-9734-B862DBC16D0B}"/>
          </ac:spMkLst>
        </pc:spChg>
        <pc:grpChg chg="add del mod">
          <ac:chgData name="Joan Viladomiu Tora" userId="769a1043-f370-4a5b-a0e1-4e76db633912" providerId="ADAL" clId="{B72382DE-DD2E-41EE-B7A2-9D431A601203}" dt="2022-11-24T12:44:01.557" v="13247" actId="165"/>
          <ac:grpSpMkLst>
            <pc:docMk/>
            <pc:sldMk cId="3871465549" sldId="274"/>
            <ac:grpSpMk id="9" creationId="{518DEC3C-E8B7-4ADC-BFCB-90E569EB05DE}"/>
          </ac:grpSpMkLst>
        </pc:grpChg>
        <pc:grpChg chg="add del mod">
          <ac:chgData name="Joan Viladomiu Tora" userId="769a1043-f370-4a5b-a0e1-4e76db633912" providerId="ADAL" clId="{B72382DE-DD2E-41EE-B7A2-9D431A601203}" dt="2022-11-24T12:44:01.557" v="13247" actId="165"/>
          <ac:grpSpMkLst>
            <pc:docMk/>
            <pc:sldMk cId="3871465549" sldId="274"/>
            <ac:grpSpMk id="10" creationId="{7E3E10BE-BA26-4951-8A06-977CE1E0FA66}"/>
          </ac:grpSpMkLst>
        </pc:grpChg>
        <pc:grpChg chg="add del mod">
          <ac:chgData name="Joan Viladomiu Tora" userId="769a1043-f370-4a5b-a0e1-4e76db633912" providerId="ADAL" clId="{B72382DE-DD2E-41EE-B7A2-9D431A601203}" dt="2022-11-24T12:44:21.102" v="13250" actId="165"/>
          <ac:grpSpMkLst>
            <pc:docMk/>
            <pc:sldMk cId="3871465549" sldId="274"/>
            <ac:grpSpMk id="11" creationId="{1451D6E5-1C55-44A6-9749-1EB4F887CEEA}"/>
          </ac:grpSpMkLst>
        </pc:grpChg>
        <pc:grpChg chg="del mod topLvl">
          <ac:chgData name="Joan Viladomiu Tora" userId="769a1043-f370-4a5b-a0e1-4e76db633912" providerId="ADAL" clId="{B72382DE-DD2E-41EE-B7A2-9D431A601203}" dt="2022-11-24T12:35:01.887" v="13099" actId="165"/>
          <ac:grpSpMkLst>
            <pc:docMk/>
            <pc:sldMk cId="3871465549" sldId="274"/>
            <ac:grpSpMk id="12" creationId="{981B13E5-41EC-4BA7-85F5-96461C407173}"/>
          </ac:grpSpMkLst>
        </pc:grpChg>
        <pc:grpChg chg="del mod topLvl">
          <ac:chgData name="Joan Viladomiu Tora" userId="769a1043-f370-4a5b-a0e1-4e76db633912" providerId="ADAL" clId="{B72382DE-DD2E-41EE-B7A2-9D431A601203}" dt="2022-11-24T12:35:01.887" v="13099" actId="165"/>
          <ac:grpSpMkLst>
            <pc:docMk/>
            <pc:sldMk cId="3871465549" sldId="274"/>
            <ac:grpSpMk id="17" creationId="{793CEB6F-C8B9-49CE-9FCB-7CC0B99648D5}"/>
          </ac:grpSpMkLst>
        </pc:grpChg>
        <pc:grpChg chg="del mod topLvl">
          <ac:chgData name="Joan Viladomiu Tora" userId="769a1043-f370-4a5b-a0e1-4e76db633912" providerId="ADAL" clId="{B72382DE-DD2E-41EE-B7A2-9D431A601203}" dt="2022-11-24T12:35:01.887" v="13099" actId="165"/>
          <ac:grpSpMkLst>
            <pc:docMk/>
            <pc:sldMk cId="3871465549" sldId="274"/>
            <ac:grpSpMk id="32" creationId="{C065B837-10AC-4EE0-9EEB-B73471CBC93C}"/>
          </ac:grpSpMkLst>
        </pc:grpChg>
        <pc:grpChg chg="add del mod">
          <ac:chgData name="Joan Viladomiu Tora" userId="769a1043-f370-4a5b-a0e1-4e76db633912" providerId="ADAL" clId="{B72382DE-DD2E-41EE-B7A2-9D431A601203}" dt="2022-11-23T23:35:23.402" v="9085" actId="165"/>
          <ac:grpSpMkLst>
            <pc:docMk/>
            <pc:sldMk cId="3871465549" sldId="274"/>
            <ac:grpSpMk id="45" creationId="{473FCD61-80A5-4648-9A45-0B6FADDF8678}"/>
          </ac:grpSpMkLst>
        </pc:grpChg>
        <pc:grpChg chg="add del mod">
          <ac:chgData name="Joan Viladomiu Tora" userId="769a1043-f370-4a5b-a0e1-4e76db633912" providerId="ADAL" clId="{B72382DE-DD2E-41EE-B7A2-9D431A601203}" dt="2022-11-24T08:07:04.773" v="10196" actId="165"/>
          <ac:grpSpMkLst>
            <pc:docMk/>
            <pc:sldMk cId="3871465549" sldId="274"/>
            <ac:grpSpMk id="46" creationId="{F6E1CDF8-7B2F-4F88-9B20-6E075690EFC1}"/>
          </ac:grpSpMkLst>
        </pc:grpChg>
        <pc:grpChg chg="add del mod">
          <ac:chgData name="Joan Viladomiu Tora" userId="769a1043-f370-4a5b-a0e1-4e76db633912" providerId="ADAL" clId="{B72382DE-DD2E-41EE-B7A2-9D431A601203}" dt="2022-11-24T08:07:04.773" v="10196" actId="165"/>
          <ac:grpSpMkLst>
            <pc:docMk/>
            <pc:sldMk cId="3871465549" sldId="274"/>
            <ac:grpSpMk id="47" creationId="{E4916196-D7D8-4CB5-92CF-D1883F541C16}"/>
          </ac:grpSpMkLst>
        </pc:grpChg>
        <pc:graphicFrameChg chg="mod">
          <ac:chgData name="Joan Viladomiu Tora" userId="769a1043-f370-4a5b-a0e1-4e76db633912" providerId="ADAL" clId="{B72382DE-DD2E-41EE-B7A2-9D431A601203}" dt="2022-11-24T12:33:22.782" v="12919"/>
          <ac:graphicFrameMkLst>
            <pc:docMk/>
            <pc:sldMk cId="3871465549" sldId="274"/>
            <ac:graphicFrameMk id="6" creationId="{A2DF11E9-3BAF-4D77-9148-4825BAF587FF}"/>
          </ac:graphicFrameMkLst>
        </pc:graphicFrameChg>
        <pc:picChg chg="mod topLvl">
          <ac:chgData name="Joan Viladomiu Tora" userId="769a1043-f370-4a5b-a0e1-4e76db633912" providerId="ADAL" clId="{B72382DE-DD2E-41EE-B7A2-9D431A601203}" dt="2022-11-24T12:50:37.666" v="13320" actId="14100"/>
          <ac:picMkLst>
            <pc:docMk/>
            <pc:sldMk cId="3871465549" sldId="274"/>
            <ac:picMk id="26" creationId="{3D26DEED-3AB3-4168-A978-F9232F0F2622}"/>
          </ac:picMkLst>
        </pc:picChg>
        <pc:picChg chg="mod topLvl">
          <ac:chgData name="Joan Viladomiu Tora" userId="769a1043-f370-4a5b-a0e1-4e76db633912" providerId="ADAL" clId="{B72382DE-DD2E-41EE-B7A2-9D431A601203}" dt="2022-11-24T12:50:37.666" v="13320" actId="14100"/>
          <ac:picMkLst>
            <pc:docMk/>
            <pc:sldMk cId="3871465549" sldId="274"/>
            <ac:picMk id="28" creationId="{CF36E550-88F7-4BC4-85F6-83F4D873840D}"/>
          </ac:picMkLst>
        </pc:picChg>
        <pc:picChg chg="mod topLvl">
          <ac:chgData name="Joan Viladomiu Tora" userId="769a1043-f370-4a5b-a0e1-4e76db633912" providerId="ADAL" clId="{B72382DE-DD2E-41EE-B7A2-9D431A601203}" dt="2022-11-24T12:50:37.666" v="13320" actId="14100"/>
          <ac:picMkLst>
            <pc:docMk/>
            <pc:sldMk cId="3871465549" sldId="274"/>
            <ac:picMk id="30" creationId="{9D5914E5-7A67-4D15-97F3-0DA840C79A43}"/>
          </ac:picMkLst>
        </pc:picChg>
      </pc:sldChg>
      <pc:sldChg chg="delSp modSp add del mod">
        <pc:chgData name="Joan Viladomiu Tora" userId="769a1043-f370-4a5b-a0e1-4e76db633912" providerId="ADAL" clId="{B72382DE-DD2E-41EE-B7A2-9D431A601203}" dt="2022-11-23T22:59:10.492" v="8517" actId="47"/>
        <pc:sldMkLst>
          <pc:docMk/>
          <pc:sldMk cId="2301430322" sldId="275"/>
        </pc:sldMkLst>
        <pc:spChg chg="mod">
          <ac:chgData name="Joan Viladomiu Tora" userId="769a1043-f370-4a5b-a0e1-4e76db633912" providerId="ADAL" clId="{B72382DE-DD2E-41EE-B7A2-9D431A601203}" dt="2022-11-23T22:58:53.581" v="8515"/>
          <ac:spMkLst>
            <pc:docMk/>
            <pc:sldMk cId="2301430322" sldId="275"/>
            <ac:spMk id="2" creationId="{F5BEA453-86B2-4D6B-8F50-1355083F9C6F}"/>
          </ac:spMkLst>
        </pc:spChg>
        <pc:spChg chg="mod">
          <ac:chgData name="Joan Viladomiu Tora" userId="769a1043-f370-4a5b-a0e1-4e76db633912" providerId="ADAL" clId="{B72382DE-DD2E-41EE-B7A2-9D431A601203}" dt="2022-11-23T22:58:53.581" v="8515"/>
          <ac:spMkLst>
            <pc:docMk/>
            <pc:sldMk cId="2301430322" sldId="275"/>
            <ac:spMk id="3" creationId="{53C366B4-FEF8-42A4-9EB9-64A743FF12B5}"/>
          </ac:spMkLst>
        </pc:spChg>
        <pc:spChg chg="mod">
          <ac:chgData name="Joan Viladomiu Tora" userId="769a1043-f370-4a5b-a0e1-4e76db633912" providerId="ADAL" clId="{B72382DE-DD2E-41EE-B7A2-9D431A601203}" dt="2022-11-23T22:58:53.581" v="8515"/>
          <ac:spMkLst>
            <pc:docMk/>
            <pc:sldMk cId="2301430322" sldId="275"/>
            <ac:spMk id="26" creationId="{98C10D04-A1AA-49D2-B2EF-01B3243BC12D}"/>
          </ac:spMkLst>
        </pc:spChg>
        <pc:grpChg chg="mod">
          <ac:chgData name="Joan Viladomiu Tora" userId="769a1043-f370-4a5b-a0e1-4e76db633912" providerId="ADAL" clId="{B72382DE-DD2E-41EE-B7A2-9D431A601203}" dt="2022-11-23T22:58:53.581" v="8515"/>
          <ac:grpSpMkLst>
            <pc:docMk/>
            <pc:sldMk cId="2301430322" sldId="275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B72382DE-DD2E-41EE-B7A2-9D431A601203}" dt="2022-11-23T22:58:53.581" v="8515"/>
          <ac:graphicFrameMkLst>
            <pc:docMk/>
            <pc:sldMk cId="2301430322" sldId="275"/>
            <ac:graphicFrameMk id="5" creationId="{031B39ED-941B-40A2-BB3C-B76D12F43DA7}"/>
          </ac:graphicFrameMkLst>
        </pc:graphicFrameChg>
        <pc:picChg chg="mod">
          <ac:chgData name="Joan Viladomiu Tora" userId="769a1043-f370-4a5b-a0e1-4e76db633912" providerId="ADAL" clId="{B72382DE-DD2E-41EE-B7A2-9D431A601203}" dt="2022-11-23T22:58:53.581" v="8515"/>
          <ac:picMkLst>
            <pc:docMk/>
            <pc:sldMk cId="2301430322" sldId="275"/>
            <ac:picMk id="28" creationId="{4D0B4D89-D248-4F23-8CBA-EC3EA727D0A6}"/>
          </ac:picMkLst>
        </pc:picChg>
        <pc:picChg chg="del mod">
          <ac:chgData name="Joan Viladomiu Tora" userId="769a1043-f370-4a5b-a0e1-4e76db633912" providerId="ADAL" clId="{B72382DE-DD2E-41EE-B7A2-9D431A601203}" dt="2022-11-23T22:58:56.669" v="8516" actId="478"/>
          <ac:picMkLst>
            <pc:docMk/>
            <pc:sldMk cId="2301430322" sldId="275"/>
            <ac:picMk id="33" creationId="{76FD66F5-6D67-46D2-82F6-0D8DA06CD24B}"/>
          </ac:picMkLst>
        </pc:picChg>
      </pc:sldChg>
      <pc:sldChg chg="del">
        <pc:chgData name="Joan Viladomiu Tora" userId="769a1043-f370-4a5b-a0e1-4e76db633912" providerId="ADAL" clId="{B72382DE-DD2E-41EE-B7A2-9D431A601203}" dt="2022-11-24T08:10:06.967" v="10204" actId="47"/>
        <pc:sldMkLst>
          <pc:docMk/>
          <pc:sldMk cId="3410549081" sldId="275"/>
        </pc:sldMkLst>
      </pc:sldChg>
      <pc:sldChg chg="delSp modSp add del mod">
        <pc:chgData name="Joan Viladomiu Tora" userId="769a1043-f370-4a5b-a0e1-4e76db633912" providerId="ADAL" clId="{B72382DE-DD2E-41EE-B7A2-9D431A601203}" dt="2022-11-23T23:01:37.959" v="8648" actId="47"/>
        <pc:sldMkLst>
          <pc:docMk/>
          <pc:sldMk cId="4215475012" sldId="275"/>
        </pc:sldMkLst>
        <pc:spChg chg="mod">
          <ac:chgData name="Joan Viladomiu Tora" userId="769a1043-f370-4a5b-a0e1-4e76db633912" providerId="ADAL" clId="{B72382DE-DD2E-41EE-B7A2-9D431A601203}" dt="2022-11-23T23:01:11.646" v="8646"/>
          <ac:spMkLst>
            <pc:docMk/>
            <pc:sldMk cId="4215475012" sldId="275"/>
            <ac:spMk id="2" creationId="{F5BEA453-86B2-4D6B-8F50-1355083F9C6F}"/>
          </ac:spMkLst>
        </pc:spChg>
        <pc:spChg chg="mod">
          <ac:chgData name="Joan Viladomiu Tora" userId="769a1043-f370-4a5b-a0e1-4e76db633912" providerId="ADAL" clId="{B72382DE-DD2E-41EE-B7A2-9D431A601203}" dt="2022-11-23T23:01:11.646" v="8646"/>
          <ac:spMkLst>
            <pc:docMk/>
            <pc:sldMk cId="4215475012" sldId="275"/>
            <ac:spMk id="3" creationId="{53C366B4-FEF8-42A4-9EB9-64A743FF12B5}"/>
          </ac:spMkLst>
        </pc:spChg>
        <pc:spChg chg="del mod">
          <ac:chgData name="Joan Viladomiu Tora" userId="769a1043-f370-4a5b-a0e1-4e76db633912" providerId="ADAL" clId="{B72382DE-DD2E-41EE-B7A2-9D431A601203}" dt="2022-11-23T23:01:15.277" v="8647" actId="478"/>
          <ac:spMkLst>
            <pc:docMk/>
            <pc:sldMk cId="4215475012" sldId="275"/>
            <ac:spMk id="4" creationId="{E7E7F248-A6EC-4775-9234-C53BF7A17E3E}"/>
          </ac:spMkLst>
        </pc:spChg>
        <pc:spChg chg="mod">
          <ac:chgData name="Joan Viladomiu Tora" userId="769a1043-f370-4a5b-a0e1-4e76db633912" providerId="ADAL" clId="{B72382DE-DD2E-41EE-B7A2-9D431A601203}" dt="2022-11-23T23:01:11.646" v="8646"/>
          <ac:spMkLst>
            <pc:docMk/>
            <pc:sldMk cId="4215475012" sldId="275"/>
            <ac:spMk id="26" creationId="{98C10D04-A1AA-49D2-B2EF-01B3243BC12D}"/>
          </ac:spMkLst>
        </pc:spChg>
        <pc:grpChg chg="mod">
          <ac:chgData name="Joan Viladomiu Tora" userId="769a1043-f370-4a5b-a0e1-4e76db633912" providerId="ADAL" clId="{B72382DE-DD2E-41EE-B7A2-9D431A601203}" dt="2022-11-23T23:01:11.646" v="8646"/>
          <ac:grpSpMkLst>
            <pc:docMk/>
            <pc:sldMk cId="4215475012" sldId="275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B72382DE-DD2E-41EE-B7A2-9D431A601203}" dt="2022-11-23T23:01:11.646" v="8646"/>
          <ac:graphicFrameMkLst>
            <pc:docMk/>
            <pc:sldMk cId="4215475012" sldId="275"/>
            <ac:graphicFrameMk id="5" creationId="{031B39ED-941B-40A2-BB3C-B76D12F43DA7}"/>
          </ac:graphicFrameMkLst>
        </pc:graphicFrameChg>
        <pc:picChg chg="mod">
          <ac:chgData name="Joan Viladomiu Tora" userId="769a1043-f370-4a5b-a0e1-4e76db633912" providerId="ADAL" clId="{B72382DE-DD2E-41EE-B7A2-9D431A601203}" dt="2022-11-23T23:01:11.646" v="8646"/>
          <ac:picMkLst>
            <pc:docMk/>
            <pc:sldMk cId="4215475012" sldId="275"/>
            <ac:picMk id="28" creationId="{4D0B4D89-D248-4F23-8CBA-EC3EA727D0A6}"/>
          </ac:picMkLst>
        </pc:picChg>
        <pc:picChg chg="mod">
          <ac:chgData name="Joan Viladomiu Tora" userId="769a1043-f370-4a5b-a0e1-4e76db633912" providerId="ADAL" clId="{B72382DE-DD2E-41EE-B7A2-9D431A601203}" dt="2022-11-23T23:01:11.646" v="8646"/>
          <ac:picMkLst>
            <pc:docMk/>
            <pc:sldMk cId="4215475012" sldId="275"/>
            <ac:picMk id="33" creationId="{76FD66F5-6D67-46D2-82F6-0D8DA06CD24B}"/>
          </ac:picMkLst>
        </pc:picChg>
      </pc:sldChg>
      <pc:sldChg chg="addSp delSp modSp add del mod ord">
        <pc:chgData name="Joan Viladomiu Tora" userId="769a1043-f370-4a5b-a0e1-4e76db633912" providerId="ADAL" clId="{B72382DE-DD2E-41EE-B7A2-9D431A601203}" dt="2022-11-24T08:06:24.219" v="10193" actId="47"/>
        <pc:sldMkLst>
          <pc:docMk/>
          <pc:sldMk cId="461334498" sldId="276"/>
        </pc:sldMkLst>
        <pc:spChg chg="mod ord">
          <ac:chgData name="Joan Viladomiu Tora" userId="769a1043-f370-4a5b-a0e1-4e76db633912" providerId="ADAL" clId="{B72382DE-DD2E-41EE-B7A2-9D431A601203}" dt="2022-11-23T23:40:03.161" v="9180"/>
          <ac:spMkLst>
            <pc:docMk/>
            <pc:sldMk cId="461334498" sldId="276"/>
            <ac:spMk id="2" creationId="{84A5015E-2AA8-4213-8A2B-C3E5BDBF76A1}"/>
          </ac:spMkLst>
        </pc:spChg>
        <pc:spChg chg="add del mod modVis">
          <ac:chgData name="Joan Viladomiu Tora" userId="769a1043-f370-4a5b-a0e1-4e76db633912" providerId="ADAL" clId="{B72382DE-DD2E-41EE-B7A2-9D431A601203}" dt="2022-11-23T23:17:59.311" v="8810"/>
          <ac:spMkLst>
            <pc:docMk/>
            <pc:sldMk cId="461334498" sldId="276"/>
            <ac:spMk id="3" creationId="{586BE151-39F3-4160-BF79-057F7291198E}"/>
          </ac:spMkLst>
        </pc:spChg>
        <pc:spChg chg="mod ord">
          <ac:chgData name="Joan Viladomiu Tora" userId="769a1043-f370-4a5b-a0e1-4e76db633912" providerId="ADAL" clId="{B72382DE-DD2E-41EE-B7A2-9D431A601203}" dt="2022-11-23T23:40:03.162" v="9182"/>
          <ac:spMkLst>
            <pc:docMk/>
            <pc:sldMk cId="461334498" sldId="276"/>
            <ac:spMk id="4" creationId="{F9CD8463-B69A-4DFE-9ACC-88A502038A96}"/>
          </ac:spMkLst>
        </pc:spChg>
        <pc:spChg chg="mod ord">
          <ac:chgData name="Joan Viladomiu Tora" userId="769a1043-f370-4a5b-a0e1-4e76db633912" providerId="ADAL" clId="{B72382DE-DD2E-41EE-B7A2-9D431A601203}" dt="2022-11-23T23:40:29.950" v="9212" actId="552"/>
          <ac:spMkLst>
            <pc:docMk/>
            <pc:sldMk cId="461334498" sldId="276"/>
            <ac:spMk id="13" creationId="{3D95C96F-A6DA-4A05-90AF-CA9A168E3595}"/>
          </ac:spMkLst>
        </pc:spChg>
        <pc:spChg chg="mod ord">
          <ac:chgData name="Joan Viladomiu Tora" userId="769a1043-f370-4a5b-a0e1-4e76db633912" providerId="ADAL" clId="{B72382DE-DD2E-41EE-B7A2-9D431A601203}" dt="2022-11-23T23:41:12.802" v="9218" actId="14100"/>
          <ac:spMkLst>
            <pc:docMk/>
            <pc:sldMk cId="461334498" sldId="276"/>
            <ac:spMk id="14" creationId="{6E32160E-D95D-4BF8-8BAB-53A7210C7435}"/>
          </ac:spMkLst>
        </pc:spChg>
        <pc:spChg chg="mod ord">
          <ac:chgData name="Joan Viladomiu Tora" userId="769a1043-f370-4a5b-a0e1-4e76db633912" providerId="ADAL" clId="{B72382DE-DD2E-41EE-B7A2-9D431A601203}" dt="2022-11-23T23:41:12.802" v="9218" actId="14100"/>
          <ac:spMkLst>
            <pc:docMk/>
            <pc:sldMk cId="461334498" sldId="276"/>
            <ac:spMk id="15" creationId="{16AE67B6-CDF6-47F1-B22D-F52CF73D5E54}"/>
          </ac:spMkLst>
        </pc:spChg>
        <pc:spChg chg="mod ord">
          <ac:chgData name="Joan Viladomiu Tora" userId="769a1043-f370-4a5b-a0e1-4e76db633912" providerId="ADAL" clId="{B72382DE-DD2E-41EE-B7A2-9D431A601203}" dt="2022-11-23T23:41:12.802" v="9218" actId="14100"/>
          <ac:spMkLst>
            <pc:docMk/>
            <pc:sldMk cId="461334498" sldId="276"/>
            <ac:spMk id="16" creationId="{975376C4-E370-4DDD-B036-84BAAF13CC87}"/>
          </ac:spMkLst>
        </pc:spChg>
        <pc:spChg chg="add del mod ord">
          <ac:chgData name="Joan Viladomiu Tora" userId="769a1043-f370-4a5b-a0e1-4e76db633912" providerId="ADAL" clId="{B72382DE-DD2E-41EE-B7A2-9D431A601203}" dt="2022-11-23T23:27:36.086" v="9021" actId="478"/>
          <ac:spMkLst>
            <pc:docMk/>
            <pc:sldMk cId="461334498" sldId="276"/>
            <ac:spMk id="17" creationId="{3AE70F08-0B52-453C-ACD8-E1072F09C039}"/>
          </ac:spMkLst>
        </pc:spChg>
        <pc:spChg chg="mod ord">
          <ac:chgData name="Joan Viladomiu Tora" userId="769a1043-f370-4a5b-a0e1-4e76db633912" providerId="ADAL" clId="{B72382DE-DD2E-41EE-B7A2-9D431A601203}" dt="2022-11-23T23:41:06.277" v="9217" actId="12788"/>
          <ac:spMkLst>
            <pc:docMk/>
            <pc:sldMk cId="461334498" sldId="276"/>
            <ac:spMk id="18" creationId="{3A675BC0-83B7-4C9E-80BB-C94CDD83E2E0}"/>
          </ac:spMkLst>
        </pc:spChg>
        <pc:spChg chg="mod ord">
          <ac:chgData name="Joan Viladomiu Tora" userId="769a1043-f370-4a5b-a0e1-4e76db633912" providerId="ADAL" clId="{B72382DE-DD2E-41EE-B7A2-9D431A601203}" dt="2022-11-23T23:40:55.051" v="9215" actId="12788"/>
          <ac:spMkLst>
            <pc:docMk/>
            <pc:sldMk cId="461334498" sldId="276"/>
            <ac:spMk id="19" creationId="{4847E85A-5980-45B5-9056-3107330A6BED}"/>
          </ac:spMkLst>
        </pc:spChg>
        <pc:spChg chg="del mod ord">
          <ac:chgData name="Joan Viladomiu Tora" userId="769a1043-f370-4a5b-a0e1-4e76db633912" providerId="ADAL" clId="{B72382DE-DD2E-41EE-B7A2-9D431A601203}" dt="2022-11-23T23:37:55.194" v="9143" actId="21"/>
          <ac:spMkLst>
            <pc:docMk/>
            <pc:sldMk cId="461334498" sldId="276"/>
            <ac:spMk id="20" creationId="{B4E62292-B68B-4546-B88D-3299EF598451}"/>
          </ac:spMkLst>
        </pc:spChg>
        <pc:spChg chg="add del mod ord">
          <ac:chgData name="Joan Viladomiu Tora" userId="769a1043-f370-4a5b-a0e1-4e76db633912" providerId="ADAL" clId="{B72382DE-DD2E-41EE-B7A2-9D431A601203}" dt="2022-11-23T23:29:56.841" v="9067" actId="478"/>
          <ac:spMkLst>
            <pc:docMk/>
            <pc:sldMk cId="461334498" sldId="276"/>
            <ac:spMk id="21" creationId="{26C82B7F-E349-44E8-8A6E-3FBEA97846F6}"/>
          </ac:spMkLst>
        </pc:spChg>
        <pc:spChg chg="add del mod ord">
          <ac:chgData name="Joan Viladomiu Tora" userId="769a1043-f370-4a5b-a0e1-4e76db633912" providerId="ADAL" clId="{B72382DE-DD2E-41EE-B7A2-9D431A601203}" dt="2022-11-23T23:29:56.841" v="9067" actId="478"/>
          <ac:spMkLst>
            <pc:docMk/>
            <pc:sldMk cId="461334498" sldId="276"/>
            <ac:spMk id="22" creationId="{9E4FA16C-6808-493E-9F3B-13FE1DBC6D28}"/>
          </ac:spMkLst>
        </pc:spChg>
        <pc:spChg chg="add mod ord">
          <ac:chgData name="Joan Viladomiu Tora" userId="769a1043-f370-4a5b-a0e1-4e76db633912" providerId="ADAL" clId="{B72382DE-DD2E-41EE-B7A2-9D431A601203}" dt="2022-11-23T23:41:00.956" v="9216" actId="12788"/>
          <ac:spMkLst>
            <pc:docMk/>
            <pc:sldMk cId="461334498" sldId="276"/>
            <ac:spMk id="25" creationId="{07C87F00-0213-457E-99C9-9562468EB0CD}"/>
          </ac:spMkLst>
        </pc:spChg>
        <pc:spChg chg="add mod ord">
          <ac:chgData name="Joan Viladomiu Tora" userId="769a1043-f370-4a5b-a0e1-4e76db633912" providerId="ADAL" clId="{B72382DE-DD2E-41EE-B7A2-9D431A601203}" dt="2022-11-23T23:41:00.956" v="9216" actId="12788"/>
          <ac:spMkLst>
            <pc:docMk/>
            <pc:sldMk cId="461334498" sldId="276"/>
            <ac:spMk id="27" creationId="{E95605C7-7C2B-4B5B-9195-96CA7CD789C4}"/>
          </ac:spMkLst>
        </pc:spChg>
        <pc:spChg chg="add del mod">
          <ac:chgData name="Joan Viladomiu Tora" userId="769a1043-f370-4a5b-a0e1-4e76db633912" providerId="ADAL" clId="{B72382DE-DD2E-41EE-B7A2-9D431A601203}" dt="2022-11-23T23:39:28.575" v="9166" actId="478"/>
          <ac:spMkLst>
            <pc:docMk/>
            <pc:sldMk cId="461334498" sldId="276"/>
            <ac:spMk id="29" creationId="{46EBEC4E-1559-4972-8F60-827303E7774A}"/>
          </ac:spMkLst>
        </pc:spChg>
        <pc:spChg chg="add mod ord">
          <ac:chgData name="Joan Viladomiu Tora" userId="769a1043-f370-4a5b-a0e1-4e76db633912" providerId="ADAL" clId="{B72382DE-DD2E-41EE-B7A2-9D431A601203}" dt="2022-11-23T23:40:55.051" v="9215" actId="12788"/>
          <ac:spMkLst>
            <pc:docMk/>
            <pc:sldMk cId="461334498" sldId="276"/>
            <ac:spMk id="31" creationId="{0DBFCC0C-9D72-4B85-84DE-4AE52D8976C7}"/>
          </ac:spMkLst>
        </pc:spChg>
        <pc:spChg chg="add mod ord">
          <ac:chgData name="Joan Viladomiu Tora" userId="769a1043-f370-4a5b-a0e1-4e76db633912" providerId="ADAL" clId="{B72382DE-DD2E-41EE-B7A2-9D431A601203}" dt="2022-11-23T23:41:06.277" v="9217" actId="12788"/>
          <ac:spMkLst>
            <pc:docMk/>
            <pc:sldMk cId="461334498" sldId="276"/>
            <ac:spMk id="32" creationId="{0EBAEC57-1EB8-43A6-B176-CCAAAD65DEBF}"/>
          </ac:spMkLst>
        </pc:spChg>
        <pc:grpChg chg="mod">
          <ac:chgData name="Joan Viladomiu Tora" userId="769a1043-f370-4a5b-a0e1-4e76db633912" providerId="ADAL" clId="{B72382DE-DD2E-41EE-B7A2-9D431A601203}" dt="2022-11-23T23:16:44.470" v="8737"/>
          <ac:grpSpMkLst>
            <pc:docMk/>
            <pc:sldMk cId="461334498" sldId="276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B72382DE-DD2E-41EE-B7A2-9D431A601203}" dt="2022-11-23T23:40:03.176" v="9204"/>
          <ac:graphicFrameMkLst>
            <pc:docMk/>
            <pc:sldMk cId="461334498" sldId="276"/>
            <ac:graphicFrameMk id="6" creationId="{A2DF11E9-3BAF-4D77-9148-4825BAF587FF}"/>
          </ac:graphicFrameMkLst>
        </pc:graphicFrameChg>
        <pc:picChg chg="mod ord">
          <ac:chgData name="Joan Viladomiu Tora" userId="769a1043-f370-4a5b-a0e1-4e76db633912" providerId="ADAL" clId="{B72382DE-DD2E-41EE-B7A2-9D431A601203}" dt="2022-11-23T23:42:14.170" v="9223" actId="465"/>
          <ac:picMkLst>
            <pc:docMk/>
            <pc:sldMk cId="461334498" sldId="276"/>
            <ac:picMk id="26" creationId="{3D26DEED-3AB3-4168-A978-F9232F0F2622}"/>
          </ac:picMkLst>
        </pc:picChg>
        <pc:picChg chg="mod ord">
          <ac:chgData name="Joan Viladomiu Tora" userId="769a1043-f370-4a5b-a0e1-4e76db633912" providerId="ADAL" clId="{B72382DE-DD2E-41EE-B7A2-9D431A601203}" dt="2022-11-23T23:42:10.048" v="9222" actId="465"/>
          <ac:picMkLst>
            <pc:docMk/>
            <pc:sldMk cId="461334498" sldId="276"/>
            <ac:picMk id="28" creationId="{CF36E550-88F7-4BC4-85F6-83F4D873840D}"/>
          </ac:picMkLst>
        </pc:picChg>
        <pc:picChg chg="mod ord">
          <ac:chgData name="Joan Viladomiu Tora" userId="769a1043-f370-4a5b-a0e1-4e76db633912" providerId="ADAL" clId="{B72382DE-DD2E-41EE-B7A2-9D431A601203}" dt="2022-11-23T23:42:06.182" v="9221" actId="465"/>
          <ac:picMkLst>
            <pc:docMk/>
            <pc:sldMk cId="461334498" sldId="276"/>
            <ac:picMk id="30" creationId="{9D5914E5-7A67-4D15-97F3-0DA840C79A43}"/>
          </ac:picMkLst>
        </pc:picChg>
        <pc:cxnChg chg="add del mod ord">
          <ac:chgData name="Joan Viladomiu Tora" userId="769a1043-f370-4a5b-a0e1-4e76db633912" providerId="ADAL" clId="{B72382DE-DD2E-41EE-B7A2-9D431A601203}" dt="2022-11-23T23:39:43.096" v="9169" actId="478"/>
          <ac:cxnSpMkLst>
            <pc:docMk/>
            <pc:sldMk cId="461334498" sldId="276"/>
            <ac:cxnSpMk id="7" creationId="{4BD97555-9D57-4AE5-ACDD-932DA1E8EBEC}"/>
          </ac:cxnSpMkLst>
        </pc:cxnChg>
        <pc:cxnChg chg="add del mod ord">
          <ac:chgData name="Joan Viladomiu Tora" userId="769a1043-f370-4a5b-a0e1-4e76db633912" providerId="ADAL" clId="{B72382DE-DD2E-41EE-B7A2-9D431A601203}" dt="2022-11-23T23:39:43.096" v="9169" actId="478"/>
          <ac:cxnSpMkLst>
            <pc:docMk/>
            <pc:sldMk cId="461334498" sldId="276"/>
            <ac:cxnSpMk id="23" creationId="{AF656B03-AB98-41CE-912F-DB4C684305AB}"/>
          </ac:cxnSpMkLst>
        </pc:cxnChg>
        <pc:cxnChg chg="add del mod ord">
          <ac:chgData name="Joan Viladomiu Tora" userId="769a1043-f370-4a5b-a0e1-4e76db633912" providerId="ADAL" clId="{B72382DE-DD2E-41EE-B7A2-9D431A601203}" dt="2022-11-23T23:37:33.350" v="9141" actId="478"/>
          <ac:cxnSpMkLst>
            <pc:docMk/>
            <pc:sldMk cId="461334498" sldId="276"/>
            <ac:cxnSpMk id="24" creationId="{15DF36C9-0180-4E94-8FA8-71AC8DE95923}"/>
          </ac:cxnSpMkLst>
        </pc:cxnChg>
      </pc:sldChg>
      <pc:sldChg chg="addSp delSp modSp add del mod">
        <pc:chgData name="Joan Viladomiu Tora" userId="769a1043-f370-4a5b-a0e1-4e76db633912" providerId="ADAL" clId="{B72382DE-DD2E-41EE-B7A2-9D431A601203}" dt="2022-11-23T23:27:12.451" v="9020" actId="47"/>
        <pc:sldMkLst>
          <pc:docMk/>
          <pc:sldMk cId="3022895442" sldId="277"/>
        </pc:sldMkLst>
        <pc:spChg chg="mod ord">
          <ac:chgData name="Joan Viladomiu Tora" userId="769a1043-f370-4a5b-a0e1-4e76db633912" providerId="ADAL" clId="{B72382DE-DD2E-41EE-B7A2-9D431A601203}" dt="2022-11-23T23:25:24.455" v="8986"/>
          <ac:spMkLst>
            <pc:docMk/>
            <pc:sldMk cId="3022895442" sldId="277"/>
            <ac:spMk id="2" creationId="{84A5015E-2AA8-4213-8A2B-C3E5BDBF76A1}"/>
          </ac:spMkLst>
        </pc:spChg>
        <pc:spChg chg="add del mod modVis">
          <ac:chgData name="Joan Viladomiu Tora" userId="769a1043-f370-4a5b-a0e1-4e76db633912" providerId="ADAL" clId="{B72382DE-DD2E-41EE-B7A2-9D431A601203}" dt="2022-11-23T23:25:24.475" v="9010"/>
          <ac:spMkLst>
            <pc:docMk/>
            <pc:sldMk cId="3022895442" sldId="277"/>
            <ac:spMk id="3" creationId="{DCF811B2-0AD0-4EA5-9E5B-36C637D680C0}"/>
          </ac:spMkLst>
        </pc:spChg>
        <pc:spChg chg="mod ord">
          <ac:chgData name="Joan Viladomiu Tora" userId="769a1043-f370-4a5b-a0e1-4e76db633912" providerId="ADAL" clId="{B72382DE-DD2E-41EE-B7A2-9D431A601203}" dt="2022-11-23T23:25:24.457" v="8988"/>
          <ac:spMkLst>
            <pc:docMk/>
            <pc:sldMk cId="3022895442" sldId="277"/>
            <ac:spMk id="4" creationId="{F9CD8463-B69A-4DFE-9ACC-88A502038A96}"/>
          </ac:spMkLst>
        </pc:spChg>
        <pc:spChg chg="mod ord">
          <ac:chgData name="Joan Viladomiu Tora" userId="769a1043-f370-4a5b-a0e1-4e76db633912" providerId="ADAL" clId="{B72382DE-DD2E-41EE-B7A2-9D431A601203}" dt="2022-11-23T23:25:24.458" v="8990"/>
          <ac:spMkLst>
            <pc:docMk/>
            <pc:sldMk cId="3022895442" sldId="277"/>
            <ac:spMk id="13" creationId="{3D95C96F-A6DA-4A05-90AF-CA9A168E3595}"/>
          </ac:spMkLst>
        </pc:spChg>
        <pc:spChg chg="mod ord">
          <ac:chgData name="Joan Viladomiu Tora" userId="769a1043-f370-4a5b-a0e1-4e76db633912" providerId="ADAL" clId="{B72382DE-DD2E-41EE-B7A2-9D431A601203}" dt="2022-11-23T23:25:24.468" v="9006"/>
          <ac:spMkLst>
            <pc:docMk/>
            <pc:sldMk cId="3022895442" sldId="277"/>
            <ac:spMk id="14" creationId="{6E32160E-D95D-4BF8-8BAB-53A7210C7435}"/>
          </ac:spMkLst>
        </pc:spChg>
        <pc:spChg chg="mod ord">
          <ac:chgData name="Joan Viladomiu Tora" userId="769a1043-f370-4a5b-a0e1-4e76db633912" providerId="ADAL" clId="{B72382DE-DD2E-41EE-B7A2-9D431A601203}" dt="2022-11-23T23:25:24.459" v="8992"/>
          <ac:spMkLst>
            <pc:docMk/>
            <pc:sldMk cId="3022895442" sldId="277"/>
            <ac:spMk id="15" creationId="{16AE67B6-CDF6-47F1-B22D-F52CF73D5E54}"/>
          </ac:spMkLst>
        </pc:spChg>
        <pc:spChg chg="mod ord">
          <ac:chgData name="Joan Viladomiu Tora" userId="769a1043-f370-4a5b-a0e1-4e76db633912" providerId="ADAL" clId="{B72382DE-DD2E-41EE-B7A2-9D431A601203}" dt="2022-11-23T23:25:24.460" v="8994"/>
          <ac:spMkLst>
            <pc:docMk/>
            <pc:sldMk cId="3022895442" sldId="277"/>
            <ac:spMk id="16" creationId="{975376C4-E370-4DDD-B036-84BAAF13CC87}"/>
          </ac:spMkLst>
        </pc:spChg>
        <pc:spChg chg="mod ord">
          <ac:chgData name="Joan Viladomiu Tora" userId="769a1043-f370-4a5b-a0e1-4e76db633912" providerId="ADAL" clId="{B72382DE-DD2E-41EE-B7A2-9D431A601203}" dt="2022-11-23T23:26:48.947" v="9019" actId="2085"/>
          <ac:spMkLst>
            <pc:docMk/>
            <pc:sldMk cId="3022895442" sldId="277"/>
            <ac:spMk id="17" creationId="{3AE70F08-0B52-453C-ACD8-E1072F09C039}"/>
          </ac:spMkLst>
        </pc:spChg>
        <pc:spChg chg="mod ord">
          <ac:chgData name="Joan Viladomiu Tora" userId="769a1043-f370-4a5b-a0e1-4e76db633912" providerId="ADAL" clId="{B72382DE-DD2E-41EE-B7A2-9D431A601203}" dt="2022-11-23T23:26:11.764" v="9017" actId="207"/>
          <ac:spMkLst>
            <pc:docMk/>
            <pc:sldMk cId="3022895442" sldId="277"/>
            <ac:spMk id="18" creationId="{3A675BC0-83B7-4C9E-80BB-C94CDD83E2E0}"/>
          </ac:spMkLst>
        </pc:spChg>
        <pc:spChg chg="mod ord">
          <ac:chgData name="Joan Viladomiu Tora" userId="769a1043-f370-4a5b-a0e1-4e76db633912" providerId="ADAL" clId="{B72382DE-DD2E-41EE-B7A2-9D431A601203}" dt="2022-11-23T23:25:24.461" v="8996"/>
          <ac:spMkLst>
            <pc:docMk/>
            <pc:sldMk cId="3022895442" sldId="277"/>
            <ac:spMk id="19" creationId="{4847E85A-5980-45B5-9056-3107330A6BED}"/>
          </ac:spMkLst>
        </pc:spChg>
        <pc:spChg chg="mod ord">
          <ac:chgData name="Joan Viladomiu Tora" userId="769a1043-f370-4a5b-a0e1-4e76db633912" providerId="ADAL" clId="{B72382DE-DD2E-41EE-B7A2-9D431A601203}" dt="2022-11-23T23:25:24.462" v="8998"/>
          <ac:spMkLst>
            <pc:docMk/>
            <pc:sldMk cId="3022895442" sldId="277"/>
            <ac:spMk id="20" creationId="{B4E62292-B68B-4546-B88D-3299EF598451}"/>
          </ac:spMkLst>
        </pc:spChg>
        <pc:spChg chg="add del mod">
          <ac:chgData name="Joan Viladomiu Tora" userId="769a1043-f370-4a5b-a0e1-4e76db633912" providerId="ADAL" clId="{B72382DE-DD2E-41EE-B7A2-9D431A601203}" dt="2022-11-23T23:24:42.991" v="8923" actId="478"/>
          <ac:spMkLst>
            <pc:docMk/>
            <pc:sldMk cId="3022895442" sldId="277"/>
            <ac:spMk id="21" creationId="{26C82B7F-E349-44E8-8A6E-3FBEA97846F6}"/>
          </ac:spMkLst>
        </pc:spChg>
        <pc:spChg chg="mod ord">
          <ac:chgData name="Joan Viladomiu Tora" userId="769a1043-f370-4a5b-a0e1-4e76db633912" providerId="ADAL" clId="{B72382DE-DD2E-41EE-B7A2-9D431A601203}" dt="2022-11-23T23:25:24.451" v="8982"/>
          <ac:spMkLst>
            <pc:docMk/>
            <pc:sldMk cId="3022895442" sldId="277"/>
            <ac:spMk id="22" creationId="{9E4FA16C-6808-493E-9F3B-13FE1DBC6D28}"/>
          </ac:spMkLst>
        </pc:spChg>
        <pc:grpChg chg="mod">
          <ac:chgData name="Joan Viladomiu Tora" userId="769a1043-f370-4a5b-a0e1-4e76db633912" providerId="ADAL" clId="{B72382DE-DD2E-41EE-B7A2-9D431A601203}" dt="2022-11-23T23:24:18.021" v="8904"/>
          <ac:grpSpMkLst>
            <pc:docMk/>
            <pc:sldMk cId="3022895442" sldId="277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B72382DE-DD2E-41EE-B7A2-9D431A601203}" dt="2022-11-23T23:25:24.491" v="9012"/>
          <ac:graphicFrameMkLst>
            <pc:docMk/>
            <pc:sldMk cId="3022895442" sldId="277"/>
            <ac:graphicFrameMk id="6" creationId="{A2DF11E9-3BAF-4D77-9148-4825BAF587FF}"/>
          </ac:graphicFrameMkLst>
        </pc:graphicFrameChg>
        <pc:picChg chg="mod ord">
          <ac:chgData name="Joan Viladomiu Tora" userId="769a1043-f370-4a5b-a0e1-4e76db633912" providerId="ADAL" clId="{B72382DE-DD2E-41EE-B7A2-9D431A601203}" dt="2022-11-23T23:25:24.465" v="9002"/>
          <ac:picMkLst>
            <pc:docMk/>
            <pc:sldMk cId="3022895442" sldId="277"/>
            <ac:picMk id="26" creationId="{3D26DEED-3AB3-4168-A978-F9232F0F2622}"/>
          </ac:picMkLst>
        </pc:picChg>
        <pc:picChg chg="mod ord">
          <ac:chgData name="Joan Viladomiu Tora" userId="769a1043-f370-4a5b-a0e1-4e76db633912" providerId="ADAL" clId="{B72382DE-DD2E-41EE-B7A2-9D431A601203}" dt="2022-11-23T23:25:24.466" v="9004"/>
          <ac:picMkLst>
            <pc:docMk/>
            <pc:sldMk cId="3022895442" sldId="277"/>
            <ac:picMk id="28" creationId="{CF36E550-88F7-4BC4-85F6-83F4D873840D}"/>
          </ac:picMkLst>
        </pc:picChg>
        <pc:picChg chg="mod ord">
          <ac:chgData name="Joan Viladomiu Tora" userId="769a1043-f370-4a5b-a0e1-4e76db633912" providerId="ADAL" clId="{B72382DE-DD2E-41EE-B7A2-9D431A601203}" dt="2022-11-23T23:25:24.464" v="9000"/>
          <ac:picMkLst>
            <pc:docMk/>
            <pc:sldMk cId="3022895442" sldId="277"/>
            <ac:picMk id="30" creationId="{9D5914E5-7A67-4D15-97F3-0DA840C79A43}"/>
          </ac:picMkLst>
        </pc:picChg>
      </pc:sldChg>
      <pc:sldChg chg="del">
        <pc:chgData name="Joan Viladomiu Tora" userId="769a1043-f370-4a5b-a0e1-4e76db633912" providerId="ADAL" clId="{B72382DE-DD2E-41EE-B7A2-9D431A601203}" dt="2022-11-24T08:10:06.967" v="10204" actId="47"/>
        <pc:sldMkLst>
          <pc:docMk/>
          <pc:sldMk cId="3259540258" sldId="277"/>
        </pc:sldMkLst>
      </pc:sldChg>
      <pc:sldChg chg="addSp delSp modSp mod">
        <pc:chgData name="Joan Viladomiu Tora" userId="769a1043-f370-4a5b-a0e1-4e76db633912" providerId="ADAL" clId="{B72382DE-DD2E-41EE-B7A2-9D431A601203}" dt="2022-11-24T15:10:57.805" v="15093" actId="20577"/>
        <pc:sldMkLst>
          <pc:docMk/>
          <pc:sldMk cId="3344740381" sldId="278"/>
        </pc:sldMkLst>
        <pc:spChg chg="mod">
          <ac:chgData name="Joan Viladomiu Tora" userId="769a1043-f370-4a5b-a0e1-4e76db633912" providerId="ADAL" clId="{B72382DE-DD2E-41EE-B7A2-9D431A601203}" dt="2022-11-24T12:33:36.603" v="13052" actId="948"/>
          <ac:spMkLst>
            <pc:docMk/>
            <pc:sldMk cId="3344740381" sldId="278"/>
            <ac:spMk id="2" creationId="{9AB591CE-E7CD-4793-B511-01EEF4704C68}"/>
          </ac:spMkLst>
        </pc:spChg>
        <pc:spChg chg="del">
          <ac:chgData name="Joan Viladomiu Tora" userId="769a1043-f370-4a5b-a0e1-4e76db633912" providerId="ADAL" clId="{B72382DE-DD2E-41EE-B7A2-9D431A601203}" dt="2022-11-24T08:10:10.407" v="10205" actId="478"/>
          <ac:spMkLst>
            <pc:docMk/>
            <pc:sldMk cId="3344740381" sldId="278"/>
            <ac:spMk id="5" creationId="{F4FD2A65-820F-4A84-8B37-32703528B3F9}"/>
          </ac:spMkLst>
        </pc:spChg>
        <pc:spChg chg="add del mod modVis">
          <ac:chgData name="Joan Viladomiu Tora" userId="769a1043-f370-4a5b-a0e1-4e76db633912" providerId="ADAL" clId="{B72382DE-DD2E-41EE-B7A2-9D431A601203}" dt="2022-11-24T12:33:34.336" v="13047"/>
          <ac:spMkLst>
            <pc:docMk/>
            <pc:sldMk cId="3344740381" sldId="278"/>
            <ac:spMk id="9" creationId="{DF628A84-F0CD-44B2-829B-5C2F78C0A635}"/>
          </ac:spMkLst>
        </pc:spChg>
        <pc:spChg chg="mod">
          <ac:chgData name="Joan Viladomiu Tora" userId="769a1043-f370-4a5b-a0e1-4e76db633912" providerId="ADAL" clId="{B72382DE-DD2E-41EE-B7A2-9D431A601203}" dt="2022-11-24T15:10:57.805" v="15093" actId="20577"/>
          <ac:spMkLst>
            <pc:docMk/>
            <pc:sldMk cId="3344740381" sldId="278"/>
            <ac:spMk id="10" creationId="{0FD1EAA4-2008-4040-A971-363FD16E75F0}"/>
          </ac:spMkLst>
        </pc:spChg>
        <pc:spChg chg="mod topLvl">
          <ac:chgData name="Joan Viladomiu Tora" userId="769a1043-f370-4a5b-a0e1-4e76db633912" providerId="ADAL" clId="{B72382DE-DD2E-41EE-B7A2-9D431A601203}" dt="2022-11-24T12:21:48.370" v="12395" actId="164"/>
          <ac:spMkLst>
            <pc:docMk/>
            <pc:sldMk cId="3344740381" sldId="278"/>
            <ac:spMk id="13" creationId="{4F8F913D-ABC8-469A-927C-2E7AFF120231}"/>
          </ac:spMkLst>
        </pc:spChg>
        <pc:spChg chg="add del mod modVis">
          <ac:chgData name="Joan Viladomiu Tora" userId="769a1043-f370-4a5b-a0e1-4e76db633912" providerId="ADAL" clId="{B72382DE-DD2E-41EE-B7A2-9D431A601203}" dt="2022-11-24T12:33:36.659" v="13091"/>
          <ac:spMkLst>
            <pc:docMk/>
            <pc:sldMk cId="3344740381" sldId="278"/>
            <ac:spMk id="15" creationId="{0FEC8E5C-0356-41CF-8F84-F004D23906BC}"/>
          </ac:spMkLst>
        </pc:spChg>
        <pc:spChg chg="add mod">
          <ac:chgData name="Joan Viladomiu Tora" userId="769a1043-f370-4a5b-a0e1-4e76db633912" providerId="ADAL" clId="{B72382DE-DD2E-41EE-B7A2-9D431A601203}" dt="2022-11-24T12:16:23.969" v="12144" actId="20577"/>
          <ac:spMkLst>
            <pc:docMk/>
            <pc:sldMk cId="3344740381" sldId="278"/>
            <ac:spMk id="18" creationId="{12CF58E0-CA02-465D-B121-8F3941806852}"/>
          </ac:spMkLst>
        </pc:spChg>
        <pc:spChg chg="add mod">
          <ac:chgData name="Joan Viladomiu Tora" userId="769a1043-f370-4a5b-a0e1-4e76db633912" providerId="ADAL" clId="{B72382DE-DD2E-41EE-B7A2-9D431A601203}" dt="2022-11-24T12:15:33.681" v="12110" actId="20577"/>
          <ac:spMkLst>
            <pc:docMk/>
            <pc:sldMk cId="3344740381" sldId="278"/>
            <ac:spMk id="19" creationId="{47DDD435-2E82-42A5-9725-F5FAE808A69D}"/>
          </ac:spMkLst>
        </pc:spChg>
        <pc:grpChg chg="mod">
          <ac:chgData name="Joan Viladomiu Tora" userId="769a1043-f370-4a5b-a0e1-4e76db633912" providerId="ADAL" clId="{B72382DE-DD2E-41EE-B7A2-9D431A601203}" dt="2022-11-24T12:21:36.880" v="12393" actId="165"/>
          <ac:grpSpMkLst>
            <pc:docMk/>
            <pc:sldMk cId="3344740381" sldId="278"/>
            <ac:grpSpMk id="3" creationId="{A60C63C1-0B0D-43D8-85FF-921FF153FD5F}"/>
          </ac:grpSpMkLst>
        </pc:grpChg>
        <pc:grpChg chg="mod">
          <ac:chgData name="Joan Viladomiu Tora" userId="769a1043-f370-4a5b-a0e1-4e76db633912" providerId="ADAL" clId="{B72382DE-DD2E-41EE-B7A2-9D431A601203}" dt="2022-11-24T12:21:36.880" v="12393" actId="165"/>
          <ac:grpSpMkLst>
            <pc:docMk/>
            <pc:sldMk cId="3344740381" sldId="278"/>
            <ac:grpSpMk id="4" creationId="{009D7DFE-8F02-441D-8EEA-3C5337146B2F}"/>
          </ac:grpSpMkLst>
        </pc:grpChg>
        <pc:grpChg chg="add mod">
          <ac:chgData name="Joan Viladomiu Tora" userId="769a1043-f370-4a5b-a0e1-4e76db633912" providerId="ADAL" clId="{B72382DE-DD2E-41EE-B7A2-9D431A601203}" dt="2022-11-24T12:21:57.095" v="12399" actId="14100"/>
          <ac:grpSpMkLst>
            <pc:docMk/>
            <pc:sldMk cId="3344740381" sldId="278"/>
            <ac:grpSpMk id="5" creationId="{4B93C1E0-2E30-4563-A5F5-5F80A858AF5F}"/>
          </ac:grpSpMkLst>
        </pc:grpChg>
        <pc:grpChg chg="mod topLvl">
          <ac:chgData name="Joan Viladomiu Tora" userId="769a1043-f370-4a5b-a0e1-4e76db633912" providerId="ADAL" clId="{B72382DE-DD2E-41EE-B7A2-9D431A601203}" dt="2022-11-24T12:21:48.370" v="12395" actId="164"/>
          <ac:grpSpMkLst>
            <pc:docMk/>
            <pc:sldMk cId="3344740381" sldId="278"/>
            <ac:grpSpMk id="6" creationId="{352BAF2F-2A56-4B83-97CB-D34027573823}"/>
          </ac:grpSpMkLst>
        </pc:grpChg>
        <pc:grpChg chg="del mod">
          <ac:chgData name="Joan Viladomiu Tora" userId="769a1043-f370-4a5b-a0e1-4e76db633912" providerId="ADAL" clId="{B72382DE-DD2E-41EE-B7A2-9D431A601203}" dt="2022-11-24T12:21:36.880" v="12393" actId="165"/>
          <ac:grpSpMkLst>
            <pc:docMk/>
            <pc:sldMk cId="3344740381" sldId="278"/>
            <ac:grpSpMk id="16" creationId="{4CEDACEF-5AD3-4B03-A24D-D0A259699B8D}"/>
          </ac:grpSpMkLst>
        </pc:grpChg>
        <pc:graphicFrameChg chg="mod">
          <ac:chgData name="Joan Viladomiu Tora" userId="769a1043-f370-4a5b-a0e1-4e76db633912" providerId="ADAL" clId="{B72382DE-DD2E-41EE-B7A2-9D431A601203}" dt="2022-11-24T12:33:36.663" v="13093"/>
          <ac:graphicFrameMkLst>
            <pc:docMk/>
            <pc:sldMk cId="3344740381" sldId="278"/>
            <ac:graphicFrameMk id="7" creationId="{0F736897-BFA9-41AC-9FCD-17A27AC24D30}"/>
          </ac:graphicFrameMkLst>
        </pc:graphicFrameChg>
        <pc:picChg chg="mod">
          <ac:chgData name="Joan Viladomiu Tora" userId="769a1043-f370-4a5b-a0e1-4e76db633912" providerId="ADAL" clId="{B72382DE-DD2E-41EE-B7A2-9D431A601203}" dt="2022-11-24T12:21:36.880" v="12393" actId="165"/>
          <ac:picMkLst>
            <pc:docMk/>
            <pc:sldMk cId="3344740381" sldId="278"/>
            <ac:picMk id="8" creationId="{7DC8CEDB-0BED-4D29-B165-0D40020D35E8}"/>
          </ac:picMkLst>
        </pc:picChg>
        <pc:picChg chg="mod">
          <ac:chgData name="Joan Viladomiu Tora" userId="769a1043-f370-4a5b-a0e1-4e76db633912" providerId="ADAL" clId="{B72382DE-DD2E-41EE-B7A2-9D431A601203}" dt="2022-11-24T12:21:36.880" v="12393" actId="165"/>
          <ac:picMkLst>
            <pc:docMk/>
            <pc:sldMk cId="3344740381" sldId="278"/>
            <ac:picMk id="11" creationId="{84963805-6C86-49F3-9363-AA2A23CFCB97}"/>
          </ac:picMkLst>
        </pc:picChg>
        <pc:picChg chg="mod">
          <ac:chgData name="Joan Viladomiu Tora" userId="769a1043-f370-4a5b-a0e1-4e76db633912" providerId="ADAL" clId="{B72382DE-DD2E-41EE-B7A2-9D431A601203}" dt="2022-11-24T12:21:36.880" v="12393" actId="165"/>
          <ac:picMkLst>
            <pc:docMk/>
            <pc:sldMk cId="3344740381" sldId="278"/>
            <ac:picMk id="12" creationId="{BEC0E572-CA30-4463-B266-4C6C6D3B2640}"/>
          </ac:picMkLst>
        </pc:picChg>
        <pc:picChg chg="mod">
          <ac:chgData name="Joan Viladomiu Tora" userId="769a1043-f370-4a5b-a0e1-4e76db633912" providerId="ADAL" clId="{B72382DE-DD2E-41EE-B7A2-9D431A601203}" dt="2022-11-24T12:21:36.880" v="12393" actId="165"/>
          <ac:picMkLst>
            <pc:docMk/>
            <pc:sldMk cId="3344740381" sldId="278"/>
            <ac:picMk id="14" creationId="{7AE31998-65D9-4F71-A99C-313D2B5B81A0}"/>
          </ac:picMkLst>
        </pc:picChg>
      </pc:sldChg>
      <pc:sldChg chg="addSp delSp modSp add mod">
        <pc:chgData name="Joan Viladomiu Tora" userId="769a1043-f370-4a5b-a0e1-4e76db633912" providerId="ADAL" clId="{B72382DE-DD2E-41EE-B7A2-9D431A601203}" dt="2022-11-24T15:07:19.943" v="15045" actId="20577"/>
        <pc:sldMkLst>
          <pc:docMk/>
          <pc:sldMk cId="2558444918" sldId="279"/>
        </pc:sldMkLst>
        <pc:spChg chg="mod">
          <ac:chgData name="Joan Viladomiu Tora" userId="769a1043-f370-4a5b-a0e1-4e76db633912" providerId="ADAL" clId="{B72382DE-DD2E-41EE-B7A2-9D431A601203}" dt="2022-11-24T12:45:02.539" v="13259"/>
          <ac:spMkLst>
            <pc:docMk/>
            <pc:sldMk cId="2558444918" sldId="279"/>
            <ac:spMk id="2" creationId="{9AB591CE-E7CD-4793-B511-01EEF4704C68}"/>
          </ac:spMkLst>
        </pc:spChg>
        <pc:spChg chg="mod">
          <ac:chgData name="Joan Viladomiu Tora" userId="769a1043-f370-4a5b-a0e1-4e76db633912" providerId="ADAL" clId="{B72382DE-DD2E-41EE-B7A2-9D431A601203}" dt="2022-11-24T12:45:02.539" v="13259"/>
          <ac:spMkLst>
            <pc:docMk/>
            <pc:sldMk cId="2558444918" sldId="279"/>
            <ac:spMk id="3" creationId="{34E63D2C-AEFB-4854-8755-E9E273E6802F}"/>
          </ac:spMkLst>
        </pc:spChg>
        <pc:spChg chg="mod">
          <ac:chgData name="Joan Viladomiu Tora" userId="769a1043-f370-4a5b-a0e1-4e76db633912" providerId="ADAL" clId="{B72382DE-DD2E-41EE-B7A2-9D431A601203}" dt="2022-11-24T12:45:02.539" v="13259"/>
          <ac:spMkLst>
            <pc:docMk/>
            <pc:sldMk cId="2558444918" sldId="279"/>
            <ac:spMk id="4" creationId="{60114289-F104-48A6-960B-292F1448429A}"/>
          </ac:spMkLst>
        </pc:spChg>
        <pc:spChg chg="mod">
          <ac:chgData name="Joan Viladomiu Tora" userId="769a1043-f370-4a5b-a0e1-4e76db633912" providerId="ADAL" clId="{B72382DE-DD2E-41EE-B7A2-9D431A601203}" dt="2022-11-24T12:45:02.539" v="13259"/>
          <ac:spMkLst>
            <pc:docMk/>
            <pc:sldMk cId="2558444918" sldId="279"/>
            <ac:spMk id="9" creationId="{FD0277FC-C43B-4BC5-A47A-1E9DA33CE5EB}"/>
          </ac:spMkLst>
        </pc:spChg>
        <pc:spChg chg="mod">
          <ac:chgData name="Joan Viladomiu Tora" userId="769a1043-f370-4a5b-a0e1-4e76db633912" providerId="ADAL" clId="{B72382DE-DD2E-41EE-B7A2-9D431A601203}" dt="2022-11-24T12:45:02.539" v="13259"/>
          <ac:spMkLst>
            <pc:docMk/>
            <pc:sldMk cId="2558444918" sldId="279"/>
            <ac:spMk id="12" creationId="{2A2EE942-E75A-454E-B8DD-66B56B4F5E4D}"/>
          </ac:spMkLst>
        </pc:spChg>
        <pc:spChg chg="mod">
          <ac:chgData name="Joan Viladomiu Tora" userId="769a1043-f370-4a5b-a0e1-4e76db633912" providerId="ADAL" clId="{B72382DE-DD2E-41EE-B7A2-9D431A601203}" dt="2022-11-24T12:45:02.539" v="13259"/>
          <ac:spMkLst>
            <pc:docMk/>
            <pc:sldMk cId="2558444918" sldId="279"/>
            <ac:spMk id="14" creationId="{7B5E3FB7-87E8-4CCE-9672-B3327E9364D7}"/>
          </ac:spMkLst>
        </pc:spChg>
        <pc:spChg chg="mod">
          <ac:chgData name="Joan Viladomiu Tora" userId="769a1043-f370-4a5b-a0e1-4e76db633912" providerId="ADAL" clId="{B72382DE-DD2E-41EE-B7A2-9D431A601203}" dt="2022-11-24T12:45:02.539" v="13259"/>
          <ac:spMkLst>
            <pc:docMk/>
            <pc:sldMk cId="2558444918" sldId="279"/>
            <ac:spMk id="16" creationId="{0EC3FD25-2832-4659-8669-1F310E646245}"/>
          </ac:spMkLst>
        </pc:spChg>
        <pc:spChg chg="mod">
          <ac:chgData name="Joan Viladomiu Tora" userId="769a1043-f370-4a5b-a0e1-4e76db633912" providerId="ADAL" clId="{B72382DE-DD2E-41EE-B7A2-9D431A601203}" dt="2022-11-24T12:45:02.539" v="13259"/>
          <ac:spMkLst>
            <pc:docMk/>
            <pc:sldMk cId="2558444918" sldId="279"/>
            <ac:spMk id="17" creationId="{B4CA9A8E-E978-4055-AEEB-A94B7C4A4DD0}"/>
          </ac:spMkLst>
        </pc:spChg>
        <pc:spChg chg="mod">
          <ac:chgData name="Joan Viladomiu Tora" userId="769a1043-f370-4a5b-a0e1-4e76db633912" providerId="ADAL" clId="{B72382DE-DD2E-41EE-B7A2-9D431A601203}" dt="2022-11-24T12:45:02.539" v="13259"/>
          <ac:spMkLst>
            <pc:docMk/>
            <pc:sldMk cId="2558444918" sldId="279"/>
            <ac:spMk id="19" creationId="{0B9CC083-2B36-42B8-B61C-32358B623C83}"/>
          </ac:spMkLst>
        </pc:spChg>
        <pc:spChg chg="mod">
          <ac:chgData name="Joan Viladomiu Tora" userId="769a1043-f370-4a5b-a0e1-4e76db633912" providerId="ADAL" clId="{B72382DE-DD2E-41EE-B7A2-9D431A601203}" dt="2022-11-24T15:07:19.943" v="15045" actId="20577"/>
          <ac:spMkLst>
            <pc:docMk/>
            <pc:sldMk cId="2558444918" sldId="279"/>
            <ac:spMk id="20" creationId="{A828A9A6-3A07-4D2B-A810-BED23D755F21}"/>
          </ac:spMkLst>
        </pc:spChg>
        <pc:spChg chg="add del mod">
          <ac:chgData name="Joan Viladomiu Tora" userId="769a1043-f370-4a5b-a0e1-4e76db633912" providerId="ADAL" clId="{B72382DE-DD2E-41EE-B7A2-9D431A601203}" dt="2022-11-24T12:45:10.771" v="13262" actId="478"/>
          <ac:spMkLst>
            <pc:docMk/>
            <pc:sldMk cId="2558444918" sldId="279"/>
            <ac:spMk id="24" creationId="{0545D960-32F1-4800-871C-8E2FBC9FD133}"/>
          </ac:spMkLst>
        </pc:spChg>
        <pc:spChg chg="mod">
          <ac:chgData name="Joan Viladomiu Tora" userId="769a1043-f370-4a5b-a0e1-4e76db633912" providerId="ADAL" clId="{B72382DE-DD2E-41EE-B7A2-9D431A601203}" dt="2022-11-24T12:45:02.539" v="13259"/>
          <ac:spMkLst>
            <pc:docMk/>
            <pc:sldMk cId="2558444918" sldId="279"/>
            <ac:spMk id="25" creationId="{D610286F-8F5A-4E2B-ACA1-B7C7E890C5B7}"/>
          </ac:spMkLst>
        </pc:spChg>
        <pc:spChg chg="mod">
          <ac:chgData name="Joan Viladomiu Tora" userId="769a1043-f370-4a5b-a0e1-4e76db633912" providerId="ADAL" clId="{B72382DE-DD2E-41EE-B7A2-9D431A601203}" dt="2022-11-24T14:06:53.551" v="13766" actId="1036"/>
          <ac:spMkLst>
            <pc:docMk/>
            <pc:sldMk cId="2558444918" sldId="279"/>
            <ac:spMk id="27" creationId="{70B93D4B-BE7D-4BED-B867-CA3D1D0486CD}"/>
          </ac:spMkLst>
        </pc:spChg>
        <pc:spChg chg="mod">
          <ac:chgData name="Joan Viladomiu Tora" userId="769a1043-f370-4a5b-a0e1-4e76db633912" providerId="ADAL" clId="{B72382DE-DD2E-41EE-B7A2-9D431A601203}" dt="2022-11-24T12:45:02.539" v="13259"/>
          <ac:spMkLst>
            <pc:docMk/>
            <pc:sldMk cId="2558444918" sldId="279"/>
            <ac:spMk id="28" creationId="{7D839E22-B395-493F-98FB-29AD84771F61}"/>
          </ac:spMkLst>
        </pc:spChg>
        <pc:spChg chg="mod">
          <ac:chgData name="Joan Viladomiu Tora" userId="769a1043-f370-4a5b-a0e1-4e76db633912" providerId="ADAL" clId="{B72382DE-DD2E-41EE-B7A2-9D431A601203}" dt="2022-11-24T12:45:02.539" v="13259"/>
          <ac:spMkLst>
            <pc:docMk/>
            <pc:sldMk cId="2558444918" sldId="279"/>
            <ac:spMk id="29" creationId="{FBEFC316-6569-4FA2-B596-0183F5054ACA}"/>
          </ac:spMkLst>
        </pc:spChg>
        <pc:spChg chg="mod">
          <ac:chgData name="Joan Viladomiu Tora" userId="769a1043-f370-4a5b-a0e1-4e76db633912" providerId="ADAL" clId="{B72382DE-DD2E-41EE-B7A2-9D431A601203}" dt="2022-11-24T12:45:09.351" v="13261" actId="108"/>
          <ac:spMkLst>
            <pc:docMk/>
            <pc:sldMk cId="2558444918" sldId="279"/>
            <ac:spMk id="32" creationId="{495A4A3C-5D91-49FB-8054-8BB5968B73B8}"/>
          </ac:spMkLst>
        </pc:spChg>
        <pc:spChg chg="mod">
          <ac:chgData name="Joan Viladomiu Tora" userId="769a1043-f370-4a5b-a0e1-4e76db633912" providerId="ADAL" clId="{B72382DE-DD2E-41EE-B7A2-9D431A601203}" dt="2022-11-24T12:45:02.539" v="13259"/>
          <ac:spMkLst>
            <pc:docMk/>
            <pc:sldMk cId="2558444918" sldId="279"/>
            <ac:spMk id="33" creationId="{7B95E904-E71E-4AE5-9770-025EE1ADAF4C}"/>
          </ac:spMkLst>
        </pc:spChg>
        <pc:spChg chg="mod">
          <ac:chgData name="Joan Viladomiu Tora" userId="769a1043-f370-4a5b-a0e1-4e76db633912" providerId="ADAL" clId="{B72382DE-DD2E-41EE-B7A2-9D431A601203}" dt="2022-11-24T12:45:02.539" v="13259"/>
          <ac:spMkLst>
            <pc:docMk/>
            <pc:sldMk cId="2558444918" sldId="279"/>
            <ac:spMk id="40" creationId="{BB53CB25-D235-47A6-A494-2EE78D2ABDFC}"/>
          </ac:spMkLst>
        </pc:spChg>
        <pc:grpChg chg="mod">
          <ac:chgData name="Joan Viladomiu Tora" userId="769a1043-f370-4a5b-a0e1-4e76db633912" providerId="ADAL" clId="{B72382DE-DD2E-41EE-B7A2-9D431A601203}" dt="2022-11-24T12:45:02.539" v="13259"/>
          <ac:grpSpMkLst>
            <pc:docMk/>
            <pc:sldMk cId="2558444918" sldId="279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B72382DE-DD2E-41EE-B7A2-9D431A601203}" dt="2022-11-24T12:45:02.539" v="13259"/>
          <ac:graphicFrameMkLst>
            <pc:docMk/>
            <pc:sldMk cId="2558444918" sldId="279"/>
            <ac:graphicFrameMk id="7" creationId="{0F736897-BFA9-41AC-9FCD-17A27AC24D30}"/>
          </ac:graphicFrameMkLst>
        </pc:graphicFrameChg>
        <pc:picChg chg="mod">
          <ac:chgData name="Joan Viladomiu Tora" userId="769a1043-f370-4a5b-a0e1-4e76db633912" providerId="ADAL" clId="{B72382DE-DD2E-41EE-B7A2-9D431A601203}" dt="2022-11-24T12:45:02.539" v="13259"/>
          <ac:picMkLst>
            <pc:docMk/>
            <pc:sldMk cId="2558444918" sldId="279"/>
            <ac:picMk id="21" creationId="{DFC0669B-BCA0-429D-94D3-C55954180A26}"/>
          </ac:picMkLst>
        </pc:picChg>
        <pc:picChg chg="mod">
          <ac:chgData name="Joan Viladomiu Tora" userId="769a1043-f370-4a5b-a0e1-4e76db633912" providerId="ADAL" clId="{B72382DE-DD2E-41EE-B7A2-9D431A601203}" dt="2022-11-24T12:45:02.539" v="13259"/>
          <ac:picMkLst>
            <pc:docMk/>
            <pc:sldMk cId="2558444918" sldId="279"/>
            <ac:picMk id="31" creationId="{547B91C8-EE34-4C11-B7BF-C8DDD1DA71A8}"/>
          </ac:picMkLst>
        </pc:picChg>
        <pc:picChg chg="mod">
          <ac:chgData name="Joan Viladomiu Tora" userId="769a1043-f370-4a5b-a0e1-4e76db633912" providerId="ADAL" clId="{B72382DE-DD2E-41EE-B7A2-9D431A601203}" dt="2022-11-24T12:45:02.539" v="13259"/>
          <ac:picMkLst>
            <pc:docMk/>
            <pc:sldMk cId="2558444918" sldId="279"/>
            <ac:picMk id="42" creationId="{1EC1C6DB-5DA5-4F46-81F0-2EB429426F93}"/>
          </ac:picMkLst>
        </pc:picChg>
        <pc:cxnChg chg="mod">
          <ac:chgData name="Joan Viladomiu Tora" userId="769a1043-f370-4a5b-a0e1-4e76db633912" providerId="ADAL" clId="{B72382DE-DD2E-41EE-B7A2-9D431A601203}" dt="2022-11-24T12:45:02.539" v="13259"/>
          <ac:cxnSpMkLst>
            <pc:docMk/>
            <pc:sldMk cId="2558444918" sldId="279"/>
            <ac:cxnSpMk id="44" creationId="{EB0B8B8E-3004-427D-B90A-3D5DD2B1D64C}"/>
          </ac:cxnSpMkLst>
        </pc:cxnChg>
      </pc:sldChg>
      <pc:sldChg chg="del">
        <pc:chgData name="Joan Viladomiu Tora" userId="769a1043-f370-4a5b-a0e1-4e76db633912" providerId="ADAL" clId="{B72382DE-DD2E-41EE-B7A2-9D431A601203}" dt="2022-11-24T11:03:56.718" v="10243" actId="47"/>
        <pc:sldMkLst>
          <pc:docMk/>
          <pc:sldMk cId="3709471831" sldId="279"/>
        </pc:sldMkLst>
      </pc:sldChg>
      <pc:sldChg chg="modSp add del mod modTransition modShow">
        <pc:chgData name="Joan Viladomiu Tora" userId="769a1043-f370-4a5b-a0e1-4e76db633912" providerId="ADAL" clId="{B72382DE-DD2E-41EE-B7A2-9D431A601203}" dt="2022-11-24T14:47:48.819" v="13985" actId="47"/>
        <pc:sldMkLst>
          <pc:docMk/>
          <pc:sldMk cId="1095501335" sldId="280"/>
        </pc:sldMkLst>
        <pc:spChg chg="mod">
          <ac:chgData name="Joan Viladomiu Tora" userId="769a1043-f370-4a5b-a0e1-4e76db633912" providerId="ADAL" clId="{B72382DE-DD2E-41EE-B7A2-9D431A601203}" dt="2022-11-24T12:56:44.614" v="13322"/>
          <ac:spMkLst>
            <pc:docMk/>
            <pc:sldMk cId="1095501335" sldId="280"/>
            <ac:spMk id="2" creationId="{9AB591CE-E7CD-4793-B511-01EEF4704C68}"/>
          </ac:spMkLst>
        </pc:spChg>
        <pc:spChg chg="mod">
          <ac:chgData name="Joan Viladomiu Tora" userId="769a1043-f370-4a5b-a0e1-4e76db633912" providerId="ADAL" clId="{B72382DE-DD2E-41EE-B7A2-9D431A601203}" dt="2022-11-24T12:56:44.614" v="13322"/>
          <ac:spMkLst>
            <pc:docMk/>
            <pc:sldMk cId="1095501335" sldId="280"/>
            <ac:spMk id="3" creationId="{A09D244F-A42D-4A46-AC6F-12D790B16A45}"/>
          </ac:spMkLst>
        </pc:spChg>
        <pc:spChg chg="mod">
          <ac:chgData name="Joan Viladomiu Tora" userId="769a1043-f370-4a5b-a0e1-4e76db633912" providerId="ADAL" clId="{B72382DE-DD2E-41EE-B7A2-9D431A601203}" dt="2022-11-24T12:56:44.614" v="13322"/>
          <ac:spMkLst>
            <pc:docMk/>
            <pc:sldMk cId="1095501335" sldId="280"/>
            <ac:spMk id="5" creationId="{81DB8705-E30C-44AA-ADAD-88914D2B7384}"/>
          </ac:spMkLst>
        </pc:spChg>
        <pc:spChg chg="mod">
          <ac:chgData name="Joan Viladomiu Tora" userId="769a1043-f370-4a5b-a0e1-4e76db633912" providerId="ADAL" clId="{B72382DE-DD2E-41EE-B7A2-9D431A601203}" dt="2022-11-24T12:56:44.614" v="13322"/>
          <ac:spMkLst>
            <pc:docMk/>
            <pc:sldMk cId="1095501335" sldId="280"/>
            <ac:spMk id="6" creationId="{E55E5FEB-8D28-42B4-968F-70AB261447AB}"/>
          </ac:spMkLst>
        </pc:spChg>
        <pc:grpChg chg="mod">
          <ac:chgData name="Joan Viladomiu Tora" userId="769a1043-f370-4a5b-a0e1-4e76db633912" providerId="ADAL" clId="{B72382DE-DD2E-41EE-B7A2-9D431A601203}" dt="2022-11-24T12:56:44.614" v="13322"/>
          <ac:grpSpMkLst>
            <pc:docMk/>
            <pc:sldMk cId="1095501335" sldId="280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B72382DE-DD2E-41EE-B7A2-9D431A601203}" dt="2022-11-24T12:56:44.614" v="13322"/>
          <ac:graphicFrameMkLst>
            <pc:docMk/>
            <pc:sldMk cId="1095501335" sldId="280"/>
            <ac:graphicFrameMk id="7" creationId="{0F736897-BFA9-41AC-9FCD-17A27AC24D30}"/>
          </ac:graphicFrameMkLst>
        </pc:graphicFrameChg>
      </pc:sldChg>
      <pc:sldChg chg="addSp delSp modSp del mod">
        <pc:chgData name="Joan Viladomiu Tora" userId="769a1043-f370-4a5b-a0e1-4e76db633912" providerId="ADAL" clId="{B72382DE-DD2E-41EE-B7A2-9D431A601203}" dt="2022-11-24T14:33:53.315" v="13942" actId="47"/>
        <pc:sldMkLst>
          <pc:docMk/>
          <pc:sldMk cId="1094298324" sldId="281"/>
        </pc:sldMkLst>
        <pc:spChg chg="mod">
          <ac:chgData name="Joan Viladomiu Tora" userId="769a1043-f370-4a5b-a0e1-4e76db633912" providerId="ADAL" clId="{B72382DE-DD2E-41EE-B7A2-9D431A601203}" dt="2022-11-24T14:28:55.749" v="13893" actId="948"/>
          <ac:spMkLst>
            <pc:docMk/>
            <pc:sldMk cId="1094298324" sldId="281"/>
            <ac:spMk id="2" creationId="{5D8F161C-DFF5-4709-A9A2-18AAE94746D7}"/>
          </ac:spMkLst>
        </pc:spChg>
        <pc:spChg chg="add del mod">
          <ac:chgData name="Joan Viladomiu Tora" userId="769a1043-f370-4a5b-a0e1-4e76db633912" providerId="ADAL" clId="{B72382DE-DD2E-41EE-B7A2-9D431A601203}" dt="2022-11-24T14:33:39.132" v="13940" actId="478"/>
          <ac:spMkLst>
            <pc:docMk/>
            <pc:sldMk cId="1094298324" sldId="281"/>
            <ac:spMk id="7" creationId="{14B321B0-ABE3-4CB9-B3D9-A13AE3F8B614}"/>
          </ac:spMkLst>
        </pc:spChg>
        <pc:spChg chg="add del mod">
          <ac:chgData name="Joan Viladomiu Tora" userId="769a1043-f370-4a5b-a0e1-4e76db633912" providerId="ADAL" clId="{B72382DE-DD2E-41EE-B7A2-9D431A601203}" dt="2022-11-24T14:33:36.490" v="13939" actId="478"/>
          <ac:spMkLst>
            <pc:docMk/>
            <pc:sldMk cId="1094298324" sldId="281"/>
            <ac:spMk id="9" creationId="{0D0BE81C-B37E-4D4F-BF9A-8B6C8F01A660}"/>
          </ac:spMkLst>
        </pc:spChg>
        <pc:spChg chg="add del mod">
          <ac:chgData name="Joan Viladomiu Tora" userId="769a1043-f370-4a5b-a0e1-4e76db633912" providerId="ADAL" clId="{B72382DE-DD2E-41EE-B7A2-9D431A601203}" dt="2022-11-24T14:33:36.490" v="13939" actId="478"/>
          <ac:spMkLst>
            <pc:docMk/>
            <pc:sldMk cId="1094298324" sldId="281"/>
            <ac:spMk id="10" creationId="{D2E2F66E-2A5D-429B-A475-3346DDE78DE0}"/>
          </ac:spMkLst>
        </pc:spChg>
        <pc:spChg chg="add del mod">
          <ac:chgData name="Joan Viladomiu Tora" userId="769a1043-f370-4a5b-a0e1-4e76db633912" providerId="ADAL" clId="{B72382DE-DD2E-41EE-B7A2-9D431A601203}" dt="2022-11-24T14:33:36.490" v="13939" actId="478"/>
          <ac:spMkLst>
            <pc:docMk/>
            <pc:sldMk cId="1094298324" sldId="281"/>
            <ac:spMk id="11" creationId="{E0319444-CBC3-4B09-9342-7207C1F5A12E}"/>
          </ac:spMkLst>
        </pc:spChg>
        <pc:spChg chg="add del mod">
          <ac:chgData name="Joan Viladomiu Tora" userId="769a1043-f370-4a5b-a0e1-4e76db633912" providerId="ADAL" clId="{B72382DE-DD2E-41EE-B7A2-9D431A601203}" dt="2022-11-24T14:33:34.606" v="13938" actId="478"/>
          <ac:spMkLst>
            <pc:docMk/>
            <pc:sldMk cId="1094298324" sldId="281"/>
            <ac:spMk id="12" creationId="{2B52E938-D90B-49F3-9B9F-8225E6A674C5}"/>
          </ac:spMkLst>
        </pc:spChg>
        <pc:spChg chg="add del mod">
          <ac:chgData name="Joan Viladomiu Tora" userId="769a1043-f370-4a5b-a0e1-4e76db633912" providerId="ADAL" clId="{B72382DE-DD2E-41EE-B7A2-9D431A601203}" dt="2022-11-24T14:33:39.132" v="13940" actId="478"/>
          <ac:spMkLst>
            <pc:docMk/>
            <pc:sldMk cId="1094298324" sldId="281"/>
            <ac:spMk id="15" creationId="{943E0BEF-841E-4C22-A7AC-29DD30CDD764}"/>
          </ac:spMkLst>
        </pc:spChg>
        <pc:spChg chg="add del mod">
          <ac:chgData name="Joan Viladomiu Tora" userId="769a1043-f370-4a5b-a0e1-4e76db633912" providerId="ADAL" clId="{B72382DE-DD2E-41EE-B7A2-9D431A601203}" dt="2022-11-24T14:33:39.132" v="13940" actId="478"/>
          <ac:spMkLst>
            <pc:docMk/>
            <pc:sldMk cId="1094298324" sldId="281"/>
            <ac:spMk id="16" creationId="{E665477A-8D8C-438D-89B1-3AE4FB5D6274}"/>
          </ac:spMkLst>
        </pc:spChg>
        <pc:graphicFrameChg chg="add mod ord modVis">
          <ac:chgData name="Joan Viladomiu Tora" userId="769a1043-f370-4a5b-a0e1-4e76db633912" providerId="ADAL" clId="{B72382DE-DD2E-41EE-B7A2-9D431A601203}" dt="2022-11-24T14:28:55.801" v="13908"/>
          <ac:graphicFrameMkLst>
            <pc:docMk/>
            <pc:sldMk cId="1094298324" sldId="281"/>
            <ac:graphicFrameMk id="5" creationId="{E3C12EE7-FE7B-4EA9-ABA3-3AA7533A6421}"/>
          </ac:graphicFrameMkLst>
        </pc:graphicFrameChg>
        <pc:picChg chg="mod">
          <ac:chgData name="Joan Viladomiu Tora" userId="769a1043-f370-4a5b-a0e1-4e76db633912" providerId="ADAL" clId="{B72382DE-DD2E-41EE-B7A2-9D431A601203}" dt="2022-11-24T14:33:44.635" v="13941" actId="1076"/>
          <ac:picMkLst>
            <pc:docMk/>
            <pc:sldMk cId="1094298324" sldId="281"/>
            <ac:picMk id="6" creationId="{9F5A4A4C-FA86-45EC-8ED1-01E28D53B13D}"/>
          </ac:picMkLst>
        </pc:picChg>
        <pc:picChg chg="add del mod">
          <ac:chgData name="Joan Viladomiu Tora" userId="769a1043-f370-4a5b-a0e1-4e76db633912" providerId="ADAL" clId="{B72382DE-DD2E-41EE-B7A2-9D431A601203}" dt="2022-11-24T14:31:41.114" v="13921" actId="478"/>
          <ac:picMkLst>
            <pc:docMk/>
            <pc:sldMk cId="1094298324" sldId="281"/>
            <ac:picMk id="8" creationId="{2DE96CE6-9F34-4018-8A59-ED1932B184B2}"/>
          </ac:picMkLst>
        </pc:picChg>
      </pc:sldChg>
      <pc:sldChg chg="delSp modSp mod">
        <pc:chgData name="Joan Viladomiu Tora" userId="769a1043-f370-4a5b-a0e1-4e76db633912" providerId="ADAL" clId="{B72382DE-DD2E-41EE-B7A2-9D431A601203}" dt="2022-11-24T15:33:10.205" v="15133" actId="478"/>
        <pc:sldMkLst>
          <pc:docMk/>
          <pc:sldMk cId="2274357867" sldId="282"/>
        </pc:sldMkLst>
        <pc:spChg chg="del">
          <ac:chgData name="Joan Viladomiu Tora" userId="769a1043-f370-4a5b-a0e1-4e76db633912" providerId="ADAL" clId="{B72382DE-DD2E-41EE-B7A2-9D431A601203}" dt="2022-11-24T15:33:10.205" v="15133" actId="478"/>
          <ac:spMkLst>
            <pc:docMk/>
            <pc:sldMk cId="2274357867" sldId="282"/>
            <ac:spMk id="4" creationId="{A2D53338-79B2-4E51-B00A-57061987FCA6}"/>
          </ac:spMkLst>
        </pc:spChg>
        <pc:picChg chg="mod">
          <ac:chgData name="Joan Viladomiu Tora" userId="769a1043-f370-4a5b-a0e1-4e76db633912" providerId="ADAL" clId="{B72382DE-DD2E-41EE-B7A2-9D431A601203}" dt="2022-11-24T14:44:42.182" v="13976" actId="14861"/>
          <ac:picMkLst>
            <pc:docMk/>
            <pc:sldMk cId="2274357867" sldId="282"/>
            <ac:picMk id="6" creationId="{4001457A-7BFD-4021-BC8C-708E8CC35CE6}"/>
          </ac:picMkLst>
        </pc:picChg>
        <pc:picChg chg="mod">
          <ac:chgData name="Joan Viladomiu Tora" userId="769a1043-f370-4a5b-a0e1-4e76db633912" providerId="ADAL" clId="{B72382DE-DD2E-41EE-B7A2-9D431A601203}" dt="2022-11-24T14:42:46.492" v="13952" actId="554"/>
          <ac:picMkLst>
            <pc:docMk/>
            <pc:sldMk cId="2274357867" sldId="282"/>
            <ac:picMk id="7" creationId="{96086411-5EC2-444C-8042-FD2065809037}"/>
          </ac:picMkLst>
        </pc:picChg>
        <pc:picChg chg="mod">
          <ac:chgData name="Joan Viladomiu Tora" userId="769a1043-f370-4a5b-a0e1-4e76db633912" providerId="ADAL" clId="{B72382DE-DD2E-41EE-B7A2-9D431A601203}" dt="2022-11-24T14:45:14.204" v="13982" actId="1076"/>
          <ac:picMkLst>
            <pc:docMk/>
            <pc:sldMk cId="2274357867" sldId="282"/>
            <ac:picMk id="11" creationId="{6BD48A03-77CC-4D7D-B35D-645E0FA37AAE}"/>
          </ac:picMkLst>
        </pc:picChg>
        <pc:picChg chg="mod">
          <ac:chgData name="Joan Viladomiu Tora" userId="769a1043-f370-4a5b-a0e1-4e76db633912" providerId="ADAL" clId="{B72382DE-DD2E-41EE-B7A2-9D431A601203}" dt="2022-11-24T14:45:14.204" v="13982" actId="1076"/>
          <ac:picMkLst>
            <pc:docMk/>
            <pc:sldMk cId="2274357867" sldId="282"/>
            <ac:picMk id="13" creationId="{78641966-8505-4391-B380-CBF15C2B2F47}"/>
          </ac:picMkLst>
        </pc:picChg>
        <pc:picChg chg="mod">
          <ac:chgData name="Joan Viladomiu Tora" userId="769a1043-f370-4a5b-a0e1-4e76db633912" providerId="ADAL" clId="{B72382DE-DD2E-41EE-B7A2-9D431A601203}" dt="2022-11-24T14:45:17.996" v="13983" actId="1076"/>
          <ac:picMkLst>
            <pc:docMk/>
            <pc:sldMk cId="2274357867" sldId="282"/>
            <ac:picMk id="15" creationId="{49FABD24-2E61-4E8F-B9CD-F87FF624FA0C}"/>
          </ac:picMkLst>
        </pc:picChg>
        <pc:picChg chg="mod">
          <ac:chgData name="Joan Viladomiu Tora" userId="769a1043-f370-4a5b-a0e1-4e76db633912" providerId="ADAL" clId="{B72382DE-DD2E-41EE-B7A2-9D431A601203}" dt="2022-11-24T14:45:22.208" v="13984" actId="1076"/>
          <ac:picMkLst>
            <pc:docMk/>
            <pc:sldMk cId="2274357867" sldId="282"/>
            <ac:picMk id="17" creationId="{88D815A0-3A49-40FE-B62D-848B686CC4FB}"/>
          </ac:picMkLst>
        </pc:picChg>
        <pc:picChg chg="mod">
          <ac:chgData name="Joan Viladomiu Tora" userId="769a1043-f370-4a5b-a0e1-4e76db633912" providerId="ADAL" clId="{B72382DE-DD2E-41EE-B7A2-9D431A601203}" dt="2022-11-24T14:52:28.929" v="13986" actId="1076"/>
          <ac:picMkLst>
            <pc:docMk/>
            <pc:sldMk cId="2274357867" sldId="282"/>
            <ac:picMk id="19" creationId="{FD3B8CE2-9F75-4CDC-AA98-BDCD7F3B6CBF}"/>
          </ac:picMkLst>
        </pc:picChg>
      </pc:sldChg>
      <pc:sldMasterChg chg="addSp delSp modSp mod addSldLayout modSldLayout">
        <pc:chgData name="Joan Viladomiu Tora" userId="769a1043-f370-4a5b-a0e1-4e76db633912" providerId="ADAL" clId="{B72382DE-DD2E-41EE-B7A2-9D431A601203}" dt="2022-11-23T22:33:03.113" v="8036" actId="12788"/>
        <pc:sldMasterMkLst>
          <pc:docMk/>
          <pc:sldMasterMk cId="688417701" sldId="2147483648"/>
        </pc:sldMasterMkLst>
        <pc:spChg chg="mod">
          <ac:chgData name="Joan Viladomiu Tora" userId="769a1043-f370-4a5b-a0e1-4e76db633912" providerId="ADAL" clId="{B72382DE-DD2E-41EE-B7A2-9D431A601203}" dt="2022-11-23T18:02:19.071" v="3915" actId="948"/>
          <ac:spMkLst>
            <pc:docMk/>
            <pc:sldMasterMk cId="688417701" sldId="2147483648"/>
            <ac:spMk id="2" creationId="{59147989-CBEE-4B29-B326-1D113EE4E021}"/>
          </ac:spMkLst>
        </pc:spChg>
        <pc:spChg chg="mod">
          <ac:chgData name="Joan Viladomiu Tora" userId="769a1043-f370-4a5b-a0e1-4e76db633912" providerId="ADAL" clId="{B72382DE-DD2E-41EE-B7A2-9D431A601203}" dt="2022-11-23T18:02:18.172" v="3747" actId="790"/>
          <ac:spMkLst>
            <pc:docMk/>
            <pc:sldMasterMk cId="688417701" sldId="2147483648"/>
            <ac:spMk id="3" creationId="{A2ECBB26-5B27-47BE-8EC5-5E41A1D090D3}"/>
          </ac:spMkLst>
        </pc:spChg>
        <pc:spChg chg="mod">
          <ac:chgData name="Joan Viladomiu Tora" userId="769a1043-f370-4a5b-a0e1-4e76db633912" providerId="ADAL" clId="{B72382DE-DD2E-41EE-B7A2-9D431A601203}" dt="2022-11-23T18:02:18.176" v="3748" actId="790"/>
          <ac:spMkLst>
            <pc:docMk/>
            <pc:sldMasterMk cId="688417701" sldId="2147483648"/>
            <ac:spMk id="4" creationId="{4BC9B4AE-43D1-4AC0-8CA7-2269003EA362}"/>
          </ac:spMkLst>
        </pc:spChg>
        <pc:spChg chg="mod">
          <ac:chgData name="Joan Viladomiu Tora" userId="769a1043-f370-4a5b-a0e1-4e76db633912" providerId="ADAL" clId="{B72382DE-DD2E-41EE-B7A2-9D431A601203}" dt="2022-11-23T18:02:18.184" v="3751" actId="20577"/>
          <ac:spMkLst>
            <pc:docMk/>
            <pc:sldMasterMk cId="688417701" sldId="2147483648"/>
            <ac:spMk id="5" creationId="{2F56C200-487D-42D2-B341-794F4F04460F}"/>
          </ac:spMkLst>
        </pc:spChg>
        <pc:spChg chg="mod">
          <ac:chgData name="Joan Viladomiu Tora" userId="769a1043-f370-4a5b-a0e1-4e76db633912" providerId="ADAL" clId="{B72382DE-DD2E-41EE-B7A2-9D431A601203}" dt="2022-11-23T18:39:33.169" v="5775" actId="207"/>
          <ac:spMkLst>
            <pc:docMk/>
            <pc:sldMasterMk cId="688417701" sldId="2147483648"/>
            <ac:spMk id="6" creationId="{A54D6931-153E-453F-8DDD-FA9FC7949758}"/>
          </ac:spMkLst>
        </pc:spChg>
        <pc:spChg chg="add del mod modVis">
          <ac:chgData name="Joan Viladomiu Tora" userId="769a1043-f370-4a5b-a0e1-4e76db633912" providerId="ADAL" clId="{B72382DE-DD2E-41EE-B7A2-9D431A601203}" dt="2022-11-23T17:43:29.864" v="2926"/>
          <ac:spMkLst>
            <pc:docMk/>
            <pc:sldMasterMk cId="688417701" sldId="2147483648"/>
            <ac:spMk id="7" creationId="{9412635A-F4CD-4726-923E-1E3836E0689A}"/>
          </ac:spMkLst>
        </pc:spChg>
        <pc:spChg chg="del mod modVis">
          <ac:chgData name="Joan Viladomiu Tora" userId="769a1043-f370-4a5b-a0e1-4e76db633912" providerId="ADAL" clId="{B72382DE-DD2E-41EE-B7A2-9D431A601203}" dt="2022-11-23T18:02:20.427" v="4479" actId="478"/>
          <ac:spMkLst>
            <pc:docMk/>
            <pc:sldMasterMk cId="688417701" sldId="2147483648"/>
            <ac:spMk id="9" creationId="{A84BFE11-34B3-482A-A8F8-E238567FFE24}"/>
          </ac:spMkLst>
        </pc:spChg>
        <pc:graphicFrameChg chg="mod">
          <ac:chgData name="Joan Viladomiu Tora" userId="769a1043-f370-4a5b-a0e1-4e76db633912" providerId="ADAL" clId="{B72382DE-DD2E-41EE-B7A2-9D431A601203}" dt="2022-11-23T18:02:20.434" v="4480" actId="1076"/>
          <ac:graphicFrameMkLst>
            <pc:docMk/>
            <pc:sldMasterMk cId="688417701" sldId="2147483648"/>
            <ac:graphicFrameMk id="8" creationId="{AF995BC6-5574-4586-BD7A-42B12E5993FD}"/>
          </ac:graphicFrameMkLst>
        </pc:graphicFrameChg>
        <pc:sldLayoutChg chg="addSp delSp modSp mod">
          <pc:chgData name="Joan Viladomiu Tora" userId="769a1043-f370-4a5b-a0e1-4e76db633912" providerId="ADAL" clId="{B72382DE-DD2E-41EE-B7A2-9D431A601203}" dt="2022-11-23T18:02:20.454" v="4486" actId="1076"/>
          <pc:sldLayoutMkLst>
            <pc:docMk/>
            <pc:sldMasterMk cId="688417701" sldId="2147483648"/>
            <pc:sldLayoutMk cId="2442174677" sldId="2147483649"/>
          </pc:sldLayoutMkLst>
          <pc:spChg chg="mod">
            <ac:chgData name="Joan Viladomiu Tora" userId="769a1043-f370-4a5b-a0e1-4e76db633912" providerId="ADAL" clId="{B72382DE-DD2E-41EE-B7A2-9D431A601203}" dt="2022-11-23T18:02:19.455" v="4023" actId="948"/>
            <ac:spMkLst>
              <pc:docMk/>
              <pc:sldMasterMk cId="688417701" sldId="2147483648"/>
              <pc:sldLayoutMk cId="2442174677" sldId="2147483649"/>
              <ac:spMk id="2" creationId="{C81E7572-07E9-4488-85C3-452067ACA110}"/>
            </ac:spMkLst>
          </pc:spChg>
          <pc:spChg chg="mod">
            <ac:chgData name="Joan Viladomiu Tora" userId="769a1043-f370-4a5b-a0e1-4e76db633912" providerId="ADAL" clId="{B72382DE-DD2E-41EE-B7A2-9D431A601203}" dt="2022-11-23T18:02:18.189" v="3754" actId="790"/>
            <ac:spMkLst>
              <pc:docMk/>
              <pc:sldMasterMk cId="688417701" sldId="2147483648"/>
              <pc:sldLayoutMk cId="2442174677" sldId="2147483649"/>
              <ac:spMk id="3" creationId="{B4AB51D9-A043-495A-9CD1-6FF4F820382B}"/>
            </ac:spMkLst>
          </pc:spChg>
          <pc:spChg chg="add del mod modVis">
            <ac:chgData name="Joan Viladomiu Tora" userId="769a1043-f370-4a5b-a0e1-4e76db633912" providerId="ADAL" clId="{B72382DE-DD2E-41EE-B7A2-9D431A601203}" dt="2022-11-23T17:43:30.025" v="2951"/>
            <ac:spMkLst>
              <pc:docMk/>
              <pc:sldMasterMk cId="688417701" sldId="2147483648"/>
              <pc:sldLayoutMk cId="2442174677" sldId="2147483649"/>
              <ac:spMk id="4" creationId="{D2E780CA-78D2-443E-97EB-C6949DE4A46F}"/>
            </ac:spMkLst>
          </pc:spChg>
          <pc:spChg chg="del mod modVis">
            <ac:chgData name="Joan Viladomiu Tora" userId="769a1043-f370-4a5b-a0e1-4e76db633912" providerId="ADAL" clId="{B72382DE-DD2E-41EE-B7A2-9D431A601203}" dt="2022-11-23T18:02:20.449" v="4485" actId="478"/>
            <ac:spMkLst>
              <pc:docMk/>
              <pc:sldMasterMk cId="688417701" sldId="2147483648"/>
              <pc:sldLayoutMk cId="2442174677" sldId="2147483649"/>
              <ac:spMk id="5" creationId="{C748B7A2-6D2C-469D-BDE2-ECFDB1FA14D1}"/>
            </ac:spMkLst>
          </pc:spChg>
          <pc:graphicFrameChg chg="mod">
            <ac:chgData name="Joan Viladomiu Tora" userId="769a1043-f370-4a5b-a0e1-4e76db633912" providerId="ADAL" clId="{B72382DE-DD2E-41EE-B7A2-9D431A601203}" dt="2022-11-23T18:02:20.454" v="4486" actId="1076"/>
            <ac:graphicFrameMkLst>
              <pc:docMk/>
              <pc:sldMasterMk cId="688417701" sldId="2147483648"/>
              <pc:sldLayoutMk cId="2442174677" sldId="2147483649"/>
              <ac:graphicFrameMk id="10" creationId="{3DBBA04C-F090-4D50-8638-032155318AED}"/>
            </ac:graphicFrameMkLst>
          </pc:graphicFrameChg>
        </pc:sldLayoutChg>
        <pc:sldLayoutChg chg="addSp delSp modSp mod">
          <pc:chgData name="Joan Viladomiu Tora" userId="769a1043-f370-4a5b-a0e1-4e76db633912" providerId="ADAL" clId="{B72382DE-DD2E-41EE-B7A2-9D431A601203}" dt="2022-11-23T18:39:37.976" v="5776" actId="207"/>
          <pc:sldLayoutMkLst>
            <pc:docMk/>
            <pc:sldMasterMk cId="688417701" sldId="2147483648"/>
            <pc:sldLayoutMk cId="2685947012" sldId="2147483650"/>
          </pc:sldLayoutMkLst>
          <pc:spChg chg="mod">
            <ac:chgData name="Joan Viladomiu Tora" userId="769a1043-f370-4a5b-a0e1-4e76db633912" providerId="ADAL" clId="{B72382DE-DD2E-41EE-B7A2-9D431A601203}" dt="2022-11-23T18:02:19.206" v="3951" actId="948"/>
            <ac:spMkLst>
              <pc:docMk/>
              <pc:sldMasterMk cId="688417701" sldId="2147483648"/>
              <pc:sldLayoutMk cId="2685947012" sldId="2147483650"/>
              <ac:spMk id="2" creationId="{A5409377-C078-43AA-A360-AABDE9C1E596}"/>
            </ac:spMkLst>
          </pc:spChg>
          <pc:spChg chg="mod">
            <ac:chgData name="Joan Viladomiu Tora" userId="769a1043-f370-4a5b-a0e1-4e76db633912" providerId="ADAL" clId="{B72382DE-DD2E-41EE-B7A2-9D431A601203}" dt="2022-11-23T18:02:18.196" v="3756" actId="790"/>
            <ac:spMkLst>
              <pc:docMk/>
              <pc:sldMasterMk cId="688417701" sldId="2147483648"/>
              <pc:sldLayoutMk cId="2685947012" sldId="2147483650"/>
              <ac:spMk id="3" creationId="{6FCB074C-146D-48C9-A454-F7D4CEFC1C2F}"/>
            </ac:spMkLst>
          </pc:spChg>
          <pc:spChg chg="mod">
            <ac:chgData name="Joan Viladomiu Tora" userId="769a1043-f370-4a5b-a0e1-4e76db633912" providerId="ADAL" clId="{B72382DE-DD2E-41EE-B7A2-9D431A601203}" dt="2022-11-23T18:02:18.200" v="3757" actId="790"/>
            <ac:spMkLst>
              <pc:docMk/>
              <pc:sldMasterMk cId="688417701" sldId="2147483648"/>
              <pc:sldLayoutMk cId="2685947012" sldId="2147483650"/>
              <ac:spMk id="4" creationId="{14CC257F-0533-42DB-AEA9-C36384FA084D}"/>
            </ac:spMkLst>
          </pc:spChg>
          <pc:spChg chg="mod">
            <ac:chgData name="Joan Viladomiu Tora" userId="769a1043-f370-4a5b-a0e1-4e76db633912" providerId="ADAL" clId="{B72382DE-DD2E-41EE-B7A2-9D431A601203}" dt="2022-11-23T18:02:18.205" v="3760" actId="20577"/>
            <ac:spMkLst>
              <pc:docMk/>
              <pc:sldMasterMk cId="688417701" sldId="2147483648"/>
              <pc:sldLayoutMk cId="2685947012" sldId="2147483650"/>
              <ac:spMk id="5" creationId="{D723FF86-91B4-430D-9782-990CE9E4D76B}"/>
            </ac:spMkLst>
          </pc:spChg>
          <pc:spChg chg="mod">
            <ac:chgData name="Joan Viladomiu Tora" userId="769a1043-f370-4a5b-a0e1-4e76db633912" providerId="ADAL" clId="{B72382DE-DD2E-41EE-B7A2-9D431A601203}" dt="2022-11-23T18:39:37.976" v="5776" actId="207"/>
            <ac:spMkLst>
              <pc:docMk/>
              <pc:sldMasterMk cId="688417701" sldId="2147483648"/>
              <pc:sldLayoutMk cId="2685947012" sldId="2147483650"/>
              <ac:spMk id="6" creationId="{5CE17CA7-03DF-4423-86FD-BC6BBC9B0AAD}"/>
            </ac:spMkLst>
          </pc:spChg>
          <pc:spChg chg="add del mod modVis">
            <ac:chgData name="Joan Viladomiu Tora" userId="769a1043-f370-4a5b-a0e1-4e76db633912" providerId="ADAL" clId="{B72382DE-DD2E-41EE-B7A2-9D431A601203}" dt="2022-11-23T17:43:29.892" v="2930"/>
            <ac:spMkLst>
              <pc:docMk/>
              <pc:sldMasterMk cId="688417701" sldId="2147483648"/>
              <pc:sldLayoutMk cId="2685947012" sldId="2147483650"/>
              <ac:spMk id="7" creationId="{193E427A-48B8-4A13-A2FC-5219290DC3AB}"/>
            </ac:spMkLst>
          </pc:spChg>
          <pc:spChg chg="del mod modVis">
            <ac:chgData name="Joan Viladomiu Tora" userId="769a1043-f370-4a5b-a0e1-4e76db633912" providerId="ADAL" clId="{B72382DE-DD2E-41EE-B7A2-9D431A601203}" dt="2022-11-23T18:02:20.435" v="4481" actId="478"/>
            <ac:spMkLst>
              <pc:docMk/>
              <pc:sldMasterMk cId="688417701" sldId="2147483648"/>
              <pc:sldLayoutMk cId="2685947012" sldId="2147483650"/>
              <ac:spMk id="8" creationId="{DACCB623-FEA0-4F70-A01B-1277B9D3D000}"/>
            </ac:spMkLst>
          </pc:spChg>
          <pc:graphicFrameChg chg="mod">
            <ac:chgData name="Joan Viladomiu Tora" userId="769a1043-f370-4a5b-a0e1-4e76db633912" providerId="ADAL" clId="{B72382DE-DD2E-41EE-B7A2-9D431A601203}" dt="2022-11-23T18:02:20.441" v="4482" actId="1076"/>
            <ac:graphicFrameMkLst>
              <pc:docMk/>
              <pc:sldMasterMk cId="688417701" sldId="2147483648"/>
              <pc:sldLayoutMk cId="2685947012" sldId="2147483650"/>
              <ac:graphicFrameMk id="15" creationId="{B8E6F6C3-BC68-47A3-BCCD-7B4DD3F91540}"/>
            </ac:graphicFrameMkLst>
          </pc:graphicFrameChg>
        </pc:sldLayoutChg>
        <pc:sldLayoutChg chg="addSp delSp modSp mod">
          <pc:chgData name="Joan Viladomiu Tora" userId="769a1043-f370-4a5b-a0e1-4e76db633912" providerId="ADAL" clId="{B72382DE-DD2E-41EE-B7A2-9D431A601203}" dt="2022-11-23T18:02:20.447" v="4484" actId="1076"/>
          <pc:sldLayoutMkLst>
            <pc:docMk/>
            <pc:sldMasterMk cId="688417701" sldId="2147483648"/>
            <pc:sldLayoutMk cId="505395355" sldId="2147483651"/>
          </pc:sldLayoutMkLst>
          <pc:spChg chg="mod">
            <ac:chgData name="Joan Viladomiu Tora" userId="769a1043-f370-4a5b-a0e1-4e76db633912" providerId="ADAL" clId="{B72382DE-DD2E-41EE-B7A2-9D431A601203}" dt="2022-11-23T18:02:19.331" v="3987" actId="948"/>
            <ac:spMkLst>
              <pc:docMk/>
              <pc:sldMasterMk cId="688417701" sldId="2147483648"/>
              <pc:sldLayoutMk cId="505395355" sldId="2147483651"/>
              <ac:spMk id="2" creationId="{9F040661-DB54-4D4B-839E-C1DFB82A91AE}"/>
            </ac:spMkLst>
          </pc:spChg>
          <pc:spChg chg="mod">
            <ac:chgData name="Joan Viladomiu Tora" userId="769a1043-f370-4a5b-a0e1-4e76db633912" providerId="ADAL" clId="{B72382DE-DD2E-41EE-B7A2-9D431A601203}" dt="2022-11-23T18:02:18.212" v="3763" actId="790"/>
            <ac:spMkLst>
              <pc:docMk/>
              <pc:sldMasterMk cId="688417701" sldId="2147483648"/>
              <pc:sldLayoutMk cId="505395355" sldId="2147483651"/>
              <ac:spMk id="3" creationId="{0C46BF97-704A-4C17-8E17-8AB390E3E635}"/>
            </ac:spMkLst>
          </pc:spChg>
          <pc:spChg chg="mod">
            <ac:chgData name="Joan Viladomiu Tora" userId="769a1043-f370-4a5b-a0e1-4e76db633912" providerId="ADAL" clId="{B72382DE-DD2E-41EE-B7A2-9D431A601203}" dt="2022-11-23T18:02:18.215" v="3764" actId="790"/>
            <ac:spMkLst>
              <pc:docMk/>
              <pc:sldMasterMk cId="688417701" sldId="2147483648"/>
              <pc:sldLayoutMk cId="505395355" sldId="2147483651"/>
              <ac:spMk id="4" creationId="{A1ADF769-4F9B-4F3F-B266-1AD18D108262}"/>
            </ac:spMkLst>
          </pc:spChg>
          <pc:spChg chg="mod">
            <ac:chgData name="Joan Viladomiu Tora" userId="769a1043-f370-4a5b-a0e1-4e76db633912" providerId="ADAL" clId="{B72382DE-DD2E-41EE-B7A2-9D431A601203}" dt="2022-11-23T18:02:18.220" v="3767" actId="20577"/>
            <ac:spMkLst>
              <pc:docMk/>
              <pc:sldMasterMk cId="688417701" sldId="2147483648"/>
              <pc:sldLayoutMk cId="505395355" sldId="2147483651"/>
              <ac:spMk id="5" creationId="{D47C852E-28EB-4E1E-8137-000D9CF1B95A}"/>
            </ac:spMkLst>
          </pc:spChg>
          <pc:spChg chg="mod">
            <ac:chgData name="Joan Viladomiu Tora" userId="769a1043-f370-4a5b-a0e1-4e76db633912" providerId="ADAL" clId="{B72382DE-DD2E-41EE-B7A2-9D431A601203}" dt="2022-11-23T18:02:18.221" v="3768" actId="790"/>
            <ac:spMkLst>
              <pc:docMk/>
              <pc:sldMasterMk cId="688417701" sldId="2147483648"/>
              <pc:sldLayoutMk cId="505395355" sldId="2147483651"/>
              <ac:spMk id="6" creationId="{A136F6D6-4ED8-4517-AC8A-90FCDB55D56C}"/>
            </ac:spMkLst>
          </pc:spChg>
          <pc:spChg chg="add del mod modVis">
            <ac:chgData name="Joan Viladomiu Tora" userId="769a1043-f370-4a5b-a0e1-4e76db633912" providerId="ADAL" clId="{B72382DE-DD2E-41EE-B7A2-9D431A601203}" dt="2022-11-23T17:43:29.911" v="2934"/>
            <ac:spMkLst>
              <pc:docMk/>
              <pc:sldMasterMk cId="688417701" sldId="2147483648"/>
              <pc:sldLayoutMk cId="505395355" sldId="2147483651"/>
              <ac:spMk id="7" creationId="{9E00B70E-4B30-402B-85EF-118246EB1105}"/>
            </ac:spMkLst>
          </pc:spChg>
          <pc:spChg chg="del mod modVis">
            <ac:chgData name="Joan Viladomiu Tora" userId="769a1043-f370-4a5b-a0e1-4e76db633912" providerId="ADAL" clId="{B72382DE-DD2E-41EE-B7A2-9D431A601203}" dt="2022-11-23T18:02:20.442" v="4483" actId="478"/>
            <ac:spMkLst>
              <pc:docMk/>
              <pc:sldMasterMk cId="688417701" sldId="2147483648"/>
              <pc:sldLayoutMk cId="505395355" sldId="2147483651"/>
              <ac:spMk id="9" creationId="{E948175A-2024-49DE-BBC4-EDDF63959036}"/>
            </ac:spMkLst>
          </pc:spChg>
          <pc:graphicFrameChg chg="add mod ord modVis">
            <ac:chgData name="Joan Viladomiu Tora" userId="769a1043-f370-4a5b-a0e1-4e76db633912" providerId="ADAL" clId="{B72382DE-DD2E-41EE-B7A2-9D431A601203}" dt="2022-11-23T18:02:20.447" v="4484" actId="1076"/>
            <ac:graphicFrameMkLst>
              <pc:docMk/>
              <pc:sldMasterMk cId="688417701" sldId="2147483648"/>
              <pc:sldLayoutMk cId="505395355" sldId="2147483651"/>
              <ac:graphicFrameMk id="8" creationId="{696D782B-F28D-45C7-84E9-8CD5AF6C69AD}"/>
            </ac:graphicFrameMkLst>
          </pc:graphicFrameChg>
        </pc:sldLayoutChg>
        <pc:sldLayoutChg chg="addSp delSp modSp mod">
          <pc:chgData name="Joan Viladomiu Tora" userId="769a1043-f370-4a5b-a0e1-4e76db633912" providerId="ADAL" clId="{B72382DE-DD2E-41EE-B7A2-9D431A601203}" dt="2022-11-23T18:02:20.483" v="4494" actId="1076"/>
          <pc:sldLayoutMkLst>
            <pc:docMk/>
            <pc:sldMasterMk cId="688417701" sldId="2147483648"/>
            <pc:sldLayoutMk cId="105012607" sldId="2147483652"/>
          </pc:sldLayoutMkLst>
          <pc:spChg chg="mod">
            <ac:chgData name="Joan Viladomiu Tora" userId="769a1043-f370-4a5b-a0e1-4e76db633912" providerId="ADAL" clId="{B72382DE-DD2E-41EE-B7A2-9D431A601203}" dt="2022-11-23T18:02:19.940" v="4168" actId="948"/>
            <ac:spMkLst>
              <pc:docMk/>
              <pc:sldMasterMk cId="688417701" sldId="2147483648"/>
              <pc:sldLayoutMk cId="105012607" sldId="2147483652"/>
              <ac:spMk id="2" creationId="{CDB41E46-50CC-4D5A-AF68-918600AABFF5}"/>
            </ac:spMkLst>
          </pc:spChg>
          <pc:spChg chg="mod">
            <ac:chgData name="Joan Viladomiu Tora" userId="769a1043-f370-4a5b-a0e1-4e76db633912" providerId="ADAL" clId="{B72382DE-DD2E-41EE-B7A2-9D431A601203}" dt="2022-11-23T18:02:18.228" v="3770" actId="790"/>
            <ac:spMkLst>
              <pc:docMk/>
              <pc:sldMasterMk cId="688417701" sldId="2147483648"/>
              <pc:sldLayoutMk cId="105012607" sldId="2147483652"/>
              <ac:spMk id="3" creationId="{691A8379-3A29-49B0-8D5F-C0291A0A8CA9}"/>
            </ac:spMkLst>
          </pc:spChg>
          <pc:spChg chg="mod">
            <ac:chgData name="Joan Viladomiu Tora" userId="769a1043-f370-4a5b-a0e1-4e76db633912" providerId="ADAL" clId="{B72382DE-DD2E-41EE-B7A2-9D431A601203}" dt="2022-11-23T18:02:18.237" v="3771" actId="790"/>
            <ac:spMkLst>
              <pc:docMk/>
              <pc:sldMasterMk cId="688417701" sldId="2147483648"/>
              <pc:sldLayoutMk cId="105012607" sldId="2147483652"/>
              <ac:spMk id="4" creationId="{80422C04-06AE-4F62-B9B4-138701546582}"/>
            </ac:spMkLst>
          </pc:spChg>
          <pc:spChg chg="mod">
            <ac:chgData name="Joan Viladomiu Tora" userId="769a1043-f370-4a5b-a0e1-4e76db633912" providerId="ADAL" clId="{B72382DE-DD2E-41EE-B7A2-9D431A601203}" dt="2022-11-23T18:02:18.244" v="3772" actId="790"/>
            <ac:spMkLst>
              <pc:docMk/>
              <pc:sldMasterMk cId="688417701" sldId="2147483648"/>
              <pc:sldLayoutMk cId="105012607" sldId="2147483652"/>
              <ac:spMk id="5" creationId="{EE61899E-F637-46CD-A130-F6454D5768BB}"/>
            </ac:spMkLst>
          </pc:spChg>
          <pc:spChg chg="mod">
            <ac:chgData name="Joan Viladomiu Tora" userId="769a1043-f370-4a5b-a0e1-4e76db633912" providerId="ADAL" clId="{B72382DE-DD2E-41EE-B7A2-9D431A601203}" dt="2022-11-23T18:02:18.250" v="3775" actId="20577"/>
            <ac:spMkLst>
              <pc:docMk/>
              <pc:sldMasterMk cId="688417701" sldId="2147483648"/>
              <pc:sldLayoutMk cId="105012607" sldId="2147483652"/>
              <ac:spMk id="6" creationId="{8BD1E4D4-E592-44FA-8DBD-E9416C5B5EA5}"/>
            </ac:spMkLst>
          </pc:spChg>
          <pc:spChg chg="mod">
            <ac:chgData name="Joan Viladomiu Tora" userId="769a1043-f370-4a5b-a0e1-4e76db633912" providerId="ADAL" clId="{B72382DE-DD2E-41EE-B7A2-9D431A601203}" dt="2022-11-23T18:02:18.251" v="3776" actId="790"/>
            <ac:spMkLst>
              <pc:docMk/>
              <pc:sldMasterMk cId="688417701" sldId="2147483648"/>
              <pc:sldLayoutMk cId="105012607" sldId="2147483652"/>
              <ac:spMk id="7" creationId="{A9B583A4-CB65-434B-AD40-89BDC66A5766}"/>
            </ac:spMkLst>
          </pc:spChg>
          <pc:spChg chg="add del mod modVis">
            <ac:chgData name="Joan Viladomiu Tora" userId="769a1043-f370-4a5b-a0e1-4e76db633912" providerId="ADAL" clId="{B72382DE-DD2E-41EE-B7A2-9D431A601203}" dt="2022-11-23T17:43:30.256" v="3006"/>
            <ac:spMkLst>
              <pc:docMk/>
              <pc:sldMasterMk cId="688417701" sldId="2147483648"/>
              <pc:sldLayoutMk cId="105012607" sldId="2147483652"/>
              <ac:spMk id="8" creationId="{9B16B770-2A70-4BC7-90DF-F1E39F763CDD}"/>
            </ac:spMkLst>
          </pc:spChg>
          <pc:spChg chg="del mod modVis">
            <ac:chgData name="Joan Viladomiu Tora" userId="769a1043-f370-4a5b-a0e1-4e76db633912" providerId="ADAL" clId="{B72382DE-DD2E-41EE-B7A2-9D431A601203}" dt="2022-11-23T18:02:20.477" v="4493" actId="478"/>
            <ac:spMkLst>
              <pc:docMk/>
              <pc:sldMasterMk cId="688417701" sldId="2147483648"/>
              <pc:sldLayoutMk cId="105012607" sldId="2147483652"/>
              <ac:spMk id="10" creationId="{1F5154A1-C2A7-4AE3-879D-79710BF21522}"/>
            </ac:spMkLst>
          </pc:spChg>
          <pc:graphicFrameChg chg="add mod ord modVis">
            <ac:chgData name="Joan Viladomiu Tora" userId="769a1043-f370-4a5b-a0e1-4e76db633912" providerId="ADAL" clId="{B72382DE-DD2E-41EE-B7A2-9D431A601203}" dt="2022-11-23T18:02:20.483" v="4494" actId="1076"/>
            <ac:graphicFrameMkLst>
              <pc:docMk/>
              <pc:sldMasterMk cId="688417701" sldId="2147483648"/>
              <pc:sldLayoutMk cId="105012607" sldId="2147483652"/>
              <ac:graphicFrameMk id="9" creationId="{4D21981B-ABAC-447C-8725-9858360782E8}"/>
            </ac:graphicFrameMkLst>
          </pc:graphicFrameChg>
        </pc:sldLayoutChg>
        <pc:sldLayoutChg chg="addSp delSp modSp mod">
          <pc:chgData name="Joan Viladomiu Tora" userId="769a1043-f370-4a5b-a0e1-4e76db633912" providerId="ADAL" clId="{B72382DE-DD2E-41EE-B7A2-9D431A601203}" dt="2022-11-23T18:02:20.461" v="4488" actId="1076"/>
          <pc:sldLayoutMkLst>
            <pc:docMk/>
            <pc:sldMasterMk cId="688417701" sldId="2147483648"/>
            <pc:sldLayoutMk cId="757218583" sldId="2147483653"/>
          </pc:sldLayoutMkLst>
          <pc:spChg chg="mod">
            <ac:chgData name="Joan Viladomiu Tora" userId="769a1043-f370-4a5b-a0e1-4e76db633912" providerId="ADAL" clId="{B72382DE-DD2E-41EE-B7A2-9D431A601203}" dt="2022-11-23T18:02:19.581" v="4059" actId="948"/>
            <ac:spMkLst>
              <pc:docMk/>
              <pc:sldMasterMk cId="688417701" sldId="2147483648"/>
              <pc:sldLayoutMk cId="757218583" sldId="2147483653"/>
              <ac:spMk id="2" creationId="{2D7EBBC9-64D2-4AB5-A1CB-8124C2462580}"/>
            </ac:spMkLst>
          </pc:spChg>
          <pc:spChg chg="mod">
            <ac:chgData name="Joan Viladomiu Tora" userId="769a1043-f370-4a5b-a0e1-4e76db633912" providerId="ADAL" clId="{B72382DE-DD2E-41EE-B7A2-9D431A601203}" dt="2022-11-23T18:02:18.258" v="3778" actId="790"/>
            <ac:spMkLst>
              <pc:docMk/>
              <pc:sldMasterMk cId="688417701" sldId="2147483648"/>
              <pc:sldLayoutMk cId="757218583" sldId="2147483653"/>
              <ac:spMk id="3" creationId="{1AA91322-7E24-4A54-892E-757207EAC2B0}"/>
            </ac:spMkLst>
          </pc:spChg>
          <pc:spChg chg="mod">
            <ac:chgData name="Joan Viladomiu Tora" userId="769a1043-f370-4a5b-a0e1-4e76db633912" providerId="ADAL" clId="{B72382DE-DD2E-41EE-B7A2-9D431A601203}" dt="2022-11-23T18:02:18.261" v="3779" actId="790"/>
            <ac:spMkLst>
              <pc:docMk/>
              <pc:sldMasterMk cId="688417701" sldId="2147483648"/>
              <pc:sldLayoutMk cId="757218583" sldId="2147483653"/>
              <ac:spMk id="4" creationId="{54FA6502-3561-4226-B6F4-C57E09D84CEF}"/>
            </ac:spMkLst>
          </pc:spChg>
          <pc:spChg chg="mod">
            <ac:chgData name="Joan Viladomiu Tora" userId="769a1043-f370-4a5b-a0e1-4e76db633912" providerId="ADAL" clId="{B72382DE-DD2E-41EE-B7A2-9D431A601203}" dt="2022-11-23T18:02:18.265" v="3780" actId="790"/>
            <ac:spMkLst>
              <pc:docMk/>
              <pc:sldMasterMk cId="688417701" sldId="2147483648"/>
              <pc:sldLayoutMk cId="757218583" sldId="2147483653"/>
              <ac:spMk id="5" creationId="{5F6FFD75-9C80-4037-8519-9558EBA7BBA2}"/>
            </ac:spMkLst>
          </pc:spChg>
          <pc:spChg chg="mod">
            <ac:chgData name="Joan Viladomiu Tora" userId="769a1043-f370-4a5b-a0e1-4e76db633912" providerId="ADAL" clId="{B72382DE-DD2E-41EE-B7A2-9D431A601203}" dt="2022-11-23T18:02:18.268" v="3781" actId="790"/>
            <ac:spMkLst>
              <pc:docMk/>
              <pc:sldMasterMk cId="688417701" sldId="2147483648"/>
              <pc:sldLayoutMk cId="757218583" sldId="2147483653"/>
              <ac:spMk id="6" creationId="{EF861681-BE73-4AE8-BB76-96AA9A10D480}"/>
            </ac:spMkLst>
          </pc:spChg>
          <pc:spChg chg="mod">
            <ac:chgData name="Joan Viladomiu Tora" userId="769a1043-f370-4a5b-a0e1-4e76db633912" providerId="ADAL" clId="{B72382DE-DD2E-41EE-B7A2-9D431A601203}" dt="2022-11-23T18:02:18.273" v="3782" actId="790"/>
            <ac:spMkLst>
              <pc:docMk/>
              <pc:sldMasterMk cId="688417701" sldId="2147483648"/>
              <pc:sldLayoutMk cId="757218583" sldId="2147483653"/>
              <ac:spMk id="7" creationId="{D33606C3-DE22-4432-B9C1-2DD89E5E4BC3}"/>
            </ac:spMkLst>
          </pc:spChg>
          <pc:spChg chg="mod">
            <ac:chgData name="Joan Viladomiu Tora" userId="769a1043-f370-4a5b-a0e1-4e76db633912" providerId="ADAL" clId="{B72382DE-DD2E-41EE-B7A2-9D431A601203}" dt="2022-11-23T18:02:18.278" v="3785" actId="20577"/>
            <ac:spMkLst>
              <pc:docMk/>
              <pc:sldMasterMk cId="688417701" sldId="2147483648"/>
              <pc:sldLayoutMk cId="757218583" sldId="2147483653"/>
              <ac:spMk id="8" creationId="{639834A7-063A-48FC-AB1E-60CC57992539}"/>
            </ac:spMkLst>
          </pc:spChg>
          <pc:spChg chg="mod">
            <ac:chgData name="Joan Viladomiu Tora" userId="769a1043-f370-4a5b-a0e1-4e76db633912" providerId="ADAL" clId="{B72382DE-DD2E-41EE-B7A2-9D431A601203}" dt="2022-11-23T18:02:18.279" v="3786" actId="790"/>
            <ac:spMkLst>
              <pc:docMk/>
              <pc:sldMasterMk cId="688417701" sldId="2147483648"/>
              <pc:sldLayoutMk cId="757218583" sldId="2147483653"/>
              <ac:spMk id="9" creationId="{92E0D5D6-38AE-453A-BEFB-751393DE90B0}"/>
            </ac:spMkLst>
          </pc:spChg>
          <pc:spChg chg="add del mod modVis">
            <ac:chgData name="Joan Viladomiu Tora" userId="769a1043-f370-4a5b-a0e1-4e76db633912" providerId="ADAL" clId="{B72382DE-DD2E-41EE-B7A2-9D431A601203}" dt="2022-11-23T17:43:30.039" v="2955"/>
            <ac:spMkLst>
              <pc:docMk/>
              <pc:sldMasterMk cId="688417701" sldId="2147483648"/>
              <pc:sldLayoutMk cId="757218583" sldId="2147483653"/>
              <ac:spMk id="10" creationId="{BC80F5AA-7A08-46B5-A870-B3807336AF6C}"/>
            </ac:spMkLst>
          </pc:spChg>
          <pc:spChg chg="del mod modVis">
            <ac:chgData name="Joan Viladomiu Tora" userId="769a1043-f370-4a5b-a0e1-4e76db633912" providerId="ADAL" clId="{B72382DE-DD2E-41EE-B7A2-9D431A601203}" dt="2022-11-23T18:02:20.456" v="4487" actId="478"/>
            <ac:spMkLst>
              <pc:docMk/>
              <pc:sldMasterMk cId="688417701" sldId="2147483648"/>
              <pc:sldLayoutMk cId="757218583" sldId="2147483653"/>
              <ac:spMk id="12" creationId="{B464DCAC-F493-4D73-85A6-049D4370AB50}"/>
            </ac:spMkLst>
          </pc:spChg>
          <pc:graphicFrameChg chg="add mod ord modVis">
            <ac:chgData name="Joan Viladomiu Tora" userId="769a1043-f370-4a5b-a0e1-4e76db633912" providerId="ADAL" clId="{B72382DE-DD2E-41EE-B7A2-9D431A601203}" dt="2022-11-23T18:02:20.461" v="4488" actId="1076"/>
            <ac:graphicFrameMkLst>
              <pc:docMk/>
              <pc:sldMasterMk cId="688417701" sldId="2147483648"/>
              <pc:sldLayoutMk cId="757218583" sldId="2147483653"/>
              <ac:graphicFrameMk id="11" creationId="{868407EF-5104-4160-9807-371DAC6F1EF5}"/>
            </ac:graphicFrameMkLst>
          </pc:graphicFrameChg>
        </pc:sldLayoutChg>
        <pc:sldLayoutChg chg="addSp delSp modSp mod">
          <pc:chgData name="Joan Viladomiu Tora" userId="769a1043-f370-4a5b-a0e1-4e76db633912" providerId="ADAL" clId="{B72382DE-DD2E-41EE-B7A2-9D431A601203}" dt="2022-11-23T18:02:20.498" v="4498" actId="1076"/>
          <pc:sldLayoutMkLst>
            <pc:docMk/>
            <pc:sldMasterMk cId="688417701" sldId="2147483648"/>
            <pc:sldLayoutMk cId="361447515" sldId="2147483654"/>
          </pc:sldLayoutMkLst>
          <pc:spChg chg="mod">
            <ac:chgData name="Joan Viladomiu Tora" userId="769a1043-f370-4a5b-a0e1-4e76db633912" providerId="ADAL" clId="{B72382DE-DD2E-41EE-B7A2-9D431A601203}" dt="2022-11-23T18:02:20.072" v="4240" actId="948"/>
            <ac:spMkLst>
              <pc:docMk/>
              <pc:sldMasterMk cId="688417701" sldId="2147483648"/>
              <pc:sldLayoutMk cId="361447515" sldId="2147483654"/>
              <ac:spMk id="2" creationId="{ECE6F40C-635B-4144-AE15-0390EB643BE7}"/>
            </ac:spMkLst>
          </pc:spChg>
          <pc:spChg chg="mod">
            <ac:chgData name="Joan Viladomiu Tora" userId="769a1043-f370-4a5b-a0e1-4e76db633912" providerId="ADAL" clId="{B72382DE-DD2E-41EE-B7A2-9D431A601203}" dt="2022-11-23T18:02:18.286" v="3788" actId="790"/>
            <ac:spMkLst>
              <pc:docMk/>
              <pc:sldMasterMk cId="688417701" sldId="2147483648"/>
              <pc:sldLayoutMk cId="361447515" sldId="2147483654"/>
              <ac:spMk id="3" creationId="{4A6026CA-660D-4650-8AA0-0528B102E8CE}"/>
            </ac:spMkLst>
          </pc:spChg>
          <pc:spChg chg="mod">
            <ac:chgData name="Joan Viladomiu Tora" userId="769a1043-f370-4a5b-a0e1-4e76db633912" providerId="ADAL" clId="{B72382DE-DD2E-41EE-B7A2-9D431A601203}" dt="2022-11-23T18:02:18.303" v="3791" actId="20577"/>
            <ac:spMkLst>
              <pc:docMk/>
              <pc:sldMasterMk cId="688417701" sldId="2147483648"/>
              <pc:sldLayoutMk cId="361447515" sldId="2147483654"/>
              <ac:spMk id="4" creationId="{68541D6B-89E2-4D86-A7A7-6CFB4CA50EA7}"/>
            </ac:spMkLst>
          </pc:spChg>
          <pc:spChg chg="mod">
            <ac:chgData name="Joan Viladomiu Tora" userId="769a1043-f370-4a5b-a0e1-4e76db633912" providerId="ADAL" clId="{B72382DE-DD2E-41EE-B7A2-9D431A601203}" dt="2022-11-23T18:02:18.309" v="3792" actId="790"/>
            <ac:spMkLst>
              <pc:docMk/>
              <pc:sldMasterMk cId="688417701" sldId="2147483648"/>
              <pc:sldLayoutMk cId="361447515" sldId="2147483654"/>
              <ac:spMk id="5" creationId="{F41EFEEE-3079-48AA-93B9-7C761259DD36}"/>
            </ac:spMkLst>
          </pc:spChg>
          <pc:spChg chg="add del mod modVis">
            <ac:chgData name="Joan Viladomiu Tora" userId="769a1043-f370-4a5b-a0e1-4e76db633912" providerId="ADAL" clId="{B72382DE-DD2E-41EE-B7A2-9D431A601203}" dt="2022-11-23T17:43:30.412" v="3040"/>
            <ac:spMkLst>
              <pc:docMk/>
              <pc:sldMasterMk cId="688417701" sldId="2147483648"/>
              <pc:sldLayoutMk cId="361447515" sldId="2147483654"/>
              <ac:spMk id="6" creationId="{C4B516B3-F556-43C4-8055-B7FB116844CC}"/>
            </ac:spMkLst>
          </pc:spChg>
          <pc:spChg chg="del mod modVis">
            <ac:chgData name="Joan Viladomiu Tora" userId="769a1043-f370-4a5b-a0e1-4e76db633912" providerId="ADAL" clId="{B72382DE-DD2E-41EE-B7A2-9D431A601203}" dt="2022-11-23T18:02:20.492" v="4497" actId="478"/>
            <ac:spMkLst>
              <pc:docMk/>
              <pc:sldMasterMk cId="688417701" sldId="2147483648"/>
              <pc:sldLayoutMk cId="361447515" sldId="2147483654"/>
              <ac:spMk id="8" creationId="{898A8665-3D0A-4068-9BF0-36D3290E6C4B}"/>
            </ac:spMkLst>
          </pc:spChg>
          <pc:graphicFrameChg chg="add mod ord modVis">
            <ac:chgData name="Joan Viladomiu Tora" userId="769a1043-f370-4a5b-a0e1-4e76db633912" providerId="ADAL" clId="{B72382DE-DD2E-41EE-B7A2-9D431A601203}" dt="2022-11-23T18:02:20.498" v="4498" actId="1076"/>
            <ac:graphicFrameMkLst>
              <pc:docMk/>
              <pc:sldMasterMk cId="688417701" sldId="2147483648"/>
              <pc:sldLayoutMk cId="361447515" sldId="2147483654"/>
              <ac:graphicFrameMk id="7" creationId="{C2EBE424-4FEA-4BBE-BA33-C5B299D21934}"/>
            </ac:graphicFrameMkLst>
          </pc:graphicFrameChg>
        </pc:sldLayoutChg>
        <pc:sldLayoutChg chg="addSp delSp modSp mod setBg">
          <pc:chgData name="Joan Viladomiu Tora" userId="769a1043-f370-4a5b-a0e1-4e76db633912" providerId="ADAL" clId="{B72382DE-DD2E-41EE-B7A2-9D431A601203}" dt="2022-11-23T22:33:03.113" v="8036" actId="12788"/>
          <pc:sldLayoutMkLst>
            <pc:docMk/>
            <pc:sldMasterMk cId="688417701" sldId="2147483648"/>
            <pc:sldLayoutMk cId="2875360879" sldId="2147483655"/>
          </pc:sldLayoutMkLst>
          <pc:spChg chg="del">
            <ac:chgData name="Joan Viladomiu Tora" userId="769a1043-f370-4a5b-a0e1-4e76db633912" providerId="ADAL" clId="{B72382DE-DD2E-41EE-B7A2-9D431A601203}" dt="2022-11-23T17:11:02.285" v="13" actId="478"/>
            <ac:spMkLst>
              <pc:docMk/>
              <pc:sldMasterMk cId="688417701" sldId="2147483648"/>
              <pc:sldLayoutMk cId="2875360879" sldId="2147483655"/>
              <ac:spMk id="2" creationId="{8138B1F7-2AF0-43A0-9D51-5F6D8FDE725A}"/>
            </ac:spMkLst>
          </pc:spChg>
          <pc:spChg chg="del">
            <ac:chgData name="Joan Viladomiu Tora" userId="769a1043-f370-4a5b-a0e1-4e76db633912" providerId="ADAL" clId="{B72382DE-DD2E-41EE-B7A2-9D431A601203}" dt="2022-11-23T17:11:02.285" v="13" actId="478"/>
            <ac:spMkLst>
              <pc:docMk/>
              <pc:sldMasterMk cId="688417701" sldId="2147483648"/>
              <pc:sldLayoutMk cId="2875360879" sldId="2147483655"/>
              <ac:spMk id="3" creationId="{8F9C2D73-B83A-42B6-8010-7ED6CF631EEF}"/>
            </ac:spMkLst>
          </pc:spChg>
          <pc:spChg chg="del">
            <ac:chgData name="Joan Viladomiu Tora" userId="769a1043-f370-4a5b-a0e1-4e76db633912" providerId="ADAL" clId="{B72382DE-DD2E-41EE-B7A2-9D431A601203}" dt="2022-11-23T17:11:04.650" v="14" actId="478"/>
            <ac:spMkLst>
              <pc:docMk/>
              <pc:sldMasterMk cId="688417701" sldId="2147483648"/>
              <pc:sldLayoutMk cId="2875360879" sldId="2147483655"/>
              <ac:spMk id="4" creationId="{1A4D8497-60BA-4D79-88CE-93FFB6FBF194}"/>
            </ac:spMkLst>
          </pc:spChg>
          <pc:spChg chg="add mod ord">
            <ac:chgData name="Joan Viladomiu Tora" userId="769a1043-f370-4a5b-a0e1-4e76db633912" providerId="ADAL" clId="{B72382DE-DD2E-41EE-B7A2-9D431A601203}" dt="2022-11-23T22:33:03.113" v="8036" actId="12788"/>
            <ac:spMkLst>
              <pc:docMk/>
              <pc:sldMasterMk cId="688417701" sldId="2147483648"/>
              <pc:sldLayoutMk cId="2875360879" sldId="2147483655"/>
              <ac:spMk id="5" creationId="{CBD09497-8B66-42CE-B9A9-7E89238316FD}"/>
            </ac:spMkLst>
          </pc:spChg>
          <pc:spChg chg="add mod ord">
            <ac:chgData name="Joan Viladomiu Tora" userId="769a1043-f370-4a5b-a0e1-4e76db633912" providerId="ADAL" clId="{B72382DE-DD2E-41EE-B7A2-9D431A601203}" dt="2022-11-23T22:32:59.444" v="8031"/>
            <ac:spMkLst>
              <pc:docMk/>
              <pc:sldMasterMk cId="688417701" sldId="2147483648"/>
              <pc:sldLayoutMk cId="2875360879" sldId="2147483655"/>
              <ac:spMk id="6" creationId="{8C8C3A39-41EE-4055-925F-0E36B5E64A93}"/>
            </ac:spMkLst>
          </pc:spChg>
          <pc:spChg chg="add del mod modVis">
            <ac:chgData name="Joan Viladomiu Tora" userId="769a1043-f370-4a5b-a0e1-4e76db633912" providerId="ADAL" clId="{B72382DE-DD2E-41EE-B7A2-9D431A601203}" dt="2022-11-23T17:12:45.005" v="66"/>
            <ac:spMkLst>
              <pc:docMk/>
              <pc:sldMasterMk cId="688417701" sldId="2147483648"/>
              <pc:sldLayoutMk cId="2875360879" sldId="2147483655"/>
              <ac:spMk id="7" creationId="{DDA5A306-A080-4F1E-8119-6D0A5271AD48}"/>
            </ac:spMkLst>
          </pc:spChg>
          <pc:spChg chg="add del mod modVis">
            <ac:chgData name="Joan Viladomiu Tora" userId="769a1043-f370-4a5b-a0e1-4e76db633912" providerId="ADAL" clId="{B72382DE-DD2E-41EE-B7A2-9D431A601203}" dt="2022-11-23T17:12:47.349" v="122"/>
            <ac:spMkLst>
              <pc:docMk/>
              <pc:sldMasterMk cId="688417701" sldId="2147483648"/>
              <pc:sldLayoutMk cId="2875360879" sldId="2147483655"/>
              <ac:spMk id="9" creationId="{DDCD971E-47FF-4466-9DF7-BBB6BBED063C}"/>
            </ac:spMkLst>
          </pc:spChg>
          <pc:spChg chg="add del mod modVis">
            <ac:chgData name="Joan Viladomiu Tora" userId="769a1043-f370-4a5b-a0e1-4e76db633912" providerId="ADAL" clId="{B72382DE-DD2E-41EE-B7A2-9D431A601203}" dt="2022-11-23T17:12:50.335" v="165"/>
            <ac:spMkLst>
              <pc:docMk/>
              <pc:sldMasterMk cId="688417701" sldId="2147483648"/>
              <pc:sldLayoutMk cId="2875360879" sldId="2147483655"/>
              <ac:spMk id="10" creationId="{53B93DEE-C7D9-490E-A4F7-C847AFB12C13}"/>
            </ac:spMkLst>
          </pc:spChg>
          <pc:spChg chg="add del mod modVis">
            <ac:chgData name="Joan Viladomiu Tora" userId="769a1043-f370-4a5b-a0e1-4e76db633912" providerId="ADAL" clId="{B72382DE-DD2E-41EE-B7A2-9D431A601203}" dt="2022-11-23T17:12:53.810" v="208"/>
            <ac:spMkLst>
              <pc:docMk/>
              <pc:sldMasterMk cId="688417701" sldId="2147483648"/>
              <pc:sldLayoutMk cId="2875360879" sldId="2147483655"/>
              <ac:spMk id="11" creationId="{2F094DA7-F324-4DC1-A7D5-D50E3478A44C}"/>
            </ac:spMkLst>
          </pc:spChg>
          <pc:spChg chg="add del mod modVis">
            <ac:chgData name="Joan Viladomiu Tora" userId="769a1043-f370-4a5b-a0e1-4e76db633912" providerId="ADAL" clId="{B72382DE-DD2E-41EE-B7A2-9D431A601203}" dt="2022-11-23T17:12:55.638" v="251"/>
            <ac:spMkLst>
              <pc:docMk/>
              <pc:sldMasterMk cId="688417701" sldId="2147483648"/>
              <pc:sldLayoutMk cId="2875360879" sldId="2147483655"/>
              <ac:spMk id="12" creationId="{2DA9F534-9341-4C67-8631-C8E4CE7DB2AC}"/>
            </ac:spMkLst>
          </pc:spChg>
          <pc:spChg chg="add del mod modVis">
            <ac:chgData name="Joan Viladomiu Tora" userId="769a1043-f370-4a5b-a0e1-4e76db633912" providerId="ADAL" clId="{B72382DE-DD2E-41EE-B7A2-9D431A601203}" dt="2022-11-23T17:13:01.495" v="294"/>
            <ac:spMkLst>
              <pc:docMk/>
              <pc:sldMasterMk cId="688417701" sldId="2147483648"/>
              <pc:sldLayoutMk cId="2875360879" sldId="2147483655"/>
              <ac:spMk id="13" creationId="{07769968-D0CA-4464-9EA2-254F3B321F2B}"/>
            </ac:spMkLst>
          </pc:spChg>
          <pc:spChg chg="add del mod modVis">
            <ac:chgData name="Joan Viladomiu Tora" userId="769a1043-f370-4a5b-a0e1-4e76db633912" providerId="ADAL" clId="{B72382DE-DD2E-41EE-B7A2-9D431A601203}" dt="2022-11-23T17:13:07.879" v="339"/>
            <ac:spMkLst>
              <pc:docMk/>
              <pc:sldMasterMk cId="688417701" sldId="2147483648"/>
              <pc:sldLayoutMk cId="2875360879" sldId="2147483655"/>
              <ac:spMk id="14" creationId="{4A385DE4-E9B0-4E9C-BDC0-038ECDFAD605}"/>
            </ac:spMkLst>
          </pc:spChg>
          <pc:spChg chg="add del mod modVis">
            <ac:chgData name="Joan Viladomiu Tora" userId="769a1043-f370-4a5b-a0e1-4e76db633912" providerId="ADAL" clId="{B72382DE-DD2E-41EE-B7A2-9D431A601203}" dt="2022-11-23T17:13:09.109" v="382"/>
            <ac:spMkLst>
              <pc:docMk/>
              <pc:sldMasterMk cId="688417701" sldId="2147483648"/>
              <pc:sldLayoutMk cId="2875360879" sldId="2147483655"/>
              <ac:spMk id="15" creationId="{140E08CE-76B0-4AC1-9F12-B7E47A955E18}"/>
            </ac:spMkLst>
          </pc:spChg>
          <pc:spChg chg="add del mod ord">
            <ac:chgData name="Joan Viladomiu Tora" userId="769a1043-f370-4a5b-a0e1-4e76db633912" providerId="ADAL" clId="{B72382DE-DD2E-41EE-B7A2-9D431A601203}" dt="2022-11-23T17:15:04.033" v="407" actId="478"/>
            <ac:spMkLst>
              <pc:docMk/>
              <pc:sldMasterMk cId="688417701" sldId="2147483648"/>
              <pc:sldLayoutMk cId="2875360879" sldId="2147483655"/>
              <ac:spMk id="16" creationId="{40A1A580-60F0-4DEC-9991-1BBFE435B2D0}"/>
            </ac:spMkLst>
          </pc:spChg>
          <pc:spChg chg="add mod ord">
            <ac:chgData name="Joan Viladomiu Tora" userId="769a1043-f370-4a5b-a0e1-4e76db633912" providerId="ADAL" clId="{B72382DE-DD2E-41EE-B7A2-9D431A601203}" dt="2022-11-23T22:33:03.113" v="8036" actId="12788"/>
            <ac:spMkLst>
              <pc:docMk/>
              <pc:sldMasterMk cId="688417701" sldId="2147483648"/>
              <pc:sldLayoutMk cId="2875360879" sldId="2147483655"/>
              <ac:spMk id="17" creationId="{A26B4C1D-53A6-4268-80E8-1AF0967000F5}"/>
            </ac:spMkLst>
          </pc:spChg>
          <pc:spChg chg="add del mod">
            <ac:chgData name="Joan Viladomiu Tora" userId="769a1043-f370-4a5b-a0e1-4e76db633912" providerId="ADAL" clId="{B72382DE-DD2E-41EE-B7A2-9D431A601203}" dt="2022-11-23T17:57:24.950" v="3402" actId="478"/>
            <ac:spMkLst>
              <pc:docMk/>
              <pc:sldMasterMk cId="688417701" sldId="2147483648"/>
              <pc:sldLayoutMk cId="2875360879" sldId="2147483655"/>
              <ac:spMk id="18" creationId="{ED347F6A-3360-4493-B3FD-CADC20CD95F1}"/>
            </ac:spMkLst>
          </pc:spChg>
          <pc:spChg chg="add del mod">
            <ac:chgData name="Joan Viladomiu Tora" userId="769a1043-f370-4a5b-a0e1-4e76db633912" providerId="ADAL" clId="{B72382DE-DD2E-41EE-B7A2-9D431A601203}" dt="2022-11-23T17:57:24.950" v="3402" actId="478"/>
            <ac:spMkLst>
              <pc:docMk/>
              <pc:sldMasterMk cId="688417701" sldId="2147483648"/>
              <pc:sldLayoutMk cId="2875360879" sldId="2147483655"/>
              <ac:spMk id="19" creationId="{3362FEF4-B557-4115-B10D-50C89CB2F88B}"/>
            </ac:spMkLst>
          </pc:spChg>
          <pc:graphicFrameChg chg="add mod ord modVis">
            <ac:chgData name="Joan Viladomiu Tora" userId="769a1043-f370-4a5b-a0e1-4e76db633912" providerId="ADAL" clId="{B72382DE-DD2E-41EE-B7A2-9D431A601203}" dt="2022-11-23T22:32:59.461" v="8035"/>
            <ac:graphicFrameMkLst>
              <pc:docMk/>
              <pc:sldMasterMk cId="688417701" sldId="2147483648"/>
              <pc:sldLayoutMk cId="2875360879" sldId="2147483655"/>
              <ac:graphicFrameMk id="8" creationId="{DB4F8434-C18F-4EAB-8590-35B84472FB3D}"/>
            </ac:graphicFrameMkLst>
          </pc:graphicFrameChg>
        </pc:sldLayoutChg>
        <pc:sldLayoutChg chg="addSp delSp modSp mod">
          <pc:chgData name="Joan Viladomiu Tora" userId="769a1043-f370-4a5b-a0e1-4e76db633912" providerId="ADAL" clId="{B72382DE-DD2E-41EE-B7A2-9D431A601203}" dt="2022-11-23T18:02:20.468" v="4490" actId="1076"/>
          <pc:sldLayoutMkLst>
            <pc:docMk/>
            <pc:sldMasterMk cId="688417701" sldId="2147483648"/>
            <pc:sldLayoutMk cId="1600369168" sldId="2147483656"/>
          </pc:sldLayoutMkLst>
          <pc:spChg chg="mod">
            <ac:chgData name="Joan Viladomiu Tora" userId="769a1043-f370-4a5b-a0e1-4e76db633912" providerId="ADAL" clId="{B72382DE-DD2E-41EE-B7A2-9D431A601203}" dt="2022-11-23T18:02:19.680" v="4095" actId="948"/>
            <ac:spMkLst>
              <pc:docMk/>
              <pc:sldMasterMk cId="688417701" sldId="2147483648"/>
              <pc:sldLayoutMk cId="1600369168" sldId="2147483656"/>
              <ac:spMk id="2" creationId="{C8E8AAA8-084B-4DC5-B178-8CFBF81ADC32}"/>
            </ac:spMkLst>
          </pc:spChg>
          <pc:spChg chg="mod">
            <ac:chgData name="Joan Viladomiu Tora" userId="769a1043-f370-4a5b-a0e1-4e76db633912" providerId="ADAL" clId="{B72382DE-DD2E-41EE-B7A2-9D431A601203}" dt="2022-11-23T18:02:18.355" v="3805" actId="790"/>
            <ac:spMkLst>
              <pc:docMk/>
              <pc:sldMasterMk cId="688417701" sldId="2147483648"/>
              <pc:sldLayoutMk cId="1600369168" sldId="2147483656"/>
              <ac:spMk id="3" creationId="{CAD3FF1C-949A-47CC-927F-B1EB4B67408D}"/>
            </ac:spMkLst>
          </pc:spChg>
          <pc:spChg chg="mod">
            <ac:chgData name="Joan Viladomiu Tora" userId="769a1043-f370-4a5b-a0e1-4e76db633912" providerId="ADAL" clId="{B72382DE-DD2E-41EE-B7A2-9D431A601203}" dt="2022-11-23T18:02:18.365" v="3806" actId="790"/>
            <ac:spMkLst>
              <pc:docMk/>
              <pc:sldMasterMk cId="688417701" sldId="2147483648"/>
              <pc:sldLayoutMk cId="1600369168" sldId="2147483656"/>
              <ac:spMk id="4" creationId="{980417FC-369D-44DE-B4DD-A9D39372A378}"/>
            </ac:spMkLst>
          </pc:spChg>
          <pc:spChg chg="mod">
            <ac:chgData name="Joan Viladomiu Tora" userId="769a1043-f370-4a5b-a0e1-4e76db633912" providerId="ADAL" clId="{B72382DE-DD2E-41EE-B7A2-9D431A601203}" dt="2022-11-23T18:02:18.381" v="3807" actId="790"/>
            <ac:spMkLst>
              <pc:docMk/>
              <pc:sldMasterMk cId="688417701" sldId="2147483648"/>
              <pc:sldLayoutMk cId="1600369168" sldId="2147483656"/>
              <ac:spMk id="5" creationId="{102ECD04-658F-466D-B4BA-B38C88DE692F}"/>
            </ac:spMkLst>
          </pc:spChg>
          <pc:spChg chg="mod">
            <ac:chgData name="Joan Viladomiu Tora" userId="769a1043-f370-4a5b-a0e1-4e76db633912" providerId="ADAL" clId="{B72382DE-DD2E-41EE-B7A2-9D431A601203}" dt="2022-11-23T18:02:18.395" v="3810" actId="20577"/>
            <ac:spMkLst>
              <pc:docMk/>
              <pc:sldMasterMk cId="688417701" sldId="2147483648"/>
              <pc:sldLayoutMk cId="1600369168" sldId="2147483656"/>
              <ac:spMk id="6" creationId="{329B518F-129A-4DDE-9BD1-5F5A3E74E380}"/>
            </ac:spMkLst>
          </pc:spChg>
          <pc:spChg chg="mod">
            <ac:chgData name="Joan Viladomiu Tora" userId="769a1043-f370-4a5b-a0e1-4e76db633912" providerId="ADAL" clId="{B72382DE-DD2E-41EE-B7A2-9D431A601203}" dt="2022-11-23T18:02:18.397" v="3811" actId="790"/>
            <ac:spMkLst>
              <pc:docMk/>
              <pc:sldMasterMk cId="688417701" sldId="2147483648"/>
              <pc:sldLayoutMk cId="1600369168" sldId="2147483656"/>
              <ac:spMk id="7" creationId="{58A33AFE-3224-4154-934D-A8CCDC753019}"/>
            </ac:spMkLst>
          </pc:spChg>
          <pc:spChg chg="add del mod modVis">
            <ac:chgData name="Joan Viladomiu Tora" userId="769a1043-f370-4a5b-a0e1-4e76db633912" providerId="ADAL" clId="{B72382DE-DD2E-41EE-B7A2-9D431A601203}" dt="2022-11-23T17:43:30.115" v="2972"/>
            <ac:spMkLst>
              <pc:docMk/>
              <pc:sldMasterMk cId="688417701" sldId="2147483648"/>
              <pc:sldLayoutMk cId="1600369168" sldId="2147483656"/>
              <ac:spMk id="8" creationId="{127962AF-E040-4611-A172-FA03507F6CC1}"/>
            </ac:spMkLst>
          </pc:spChg>
          <pc:spChg chg="del mod modVis">
            <ac:chgData name="Joan Viladomiu Tora" userId="769a1043-f370-4a5b-a0e1-4e76db633912" providerId="ADAL" clId="{B72382DE-DD2E-41EE-B7A2-9D431A601203}" dt="2022-11-23T18:02:20.462" v="4489" actId="478"/>
            <ac:spMkLst>
              <pc:docMk/>
              <pc:sldMasterMk cId="688417701" sldId="2147483648"/>
              <pc:sldLayoutMk cId="1600369168" sldId="2147483656"/>
              <ac:spMk id="10" creationId="{4CF94E68-AB4F-412D-8B96-DC31A8AFBD88}"/>
            </ac:spMkLst>
          </pc:spChg>
          <pc:graphicFrameChg chg="add mod ord modVis">
            <ac:chgData name="Joan Viladomiu Tora" userId="769a1043-f370-4a5b-a0e1-4e76db633912" providerId="ADAL" clId="{B72382DE-DD2E-41EE-B7A2-9D431A601203}" dt="2022-11-23T18:02:20.468" v="4490" actId="1076"/>
            <ac:graphicFrameMkLst>
              <pc:docMk/>
              <pc:sldMasterMk cId="688417701" sldId="2147483648"/>
              <pc:sldLayoutMk cId="1600369168" sldId="2147483656"/>
              <ac:graphicFrameMk id="9" creationId="{7B6CAB78-E80F-4229-AFDD-AB1439FC3794}"/>
            </ac:graphicFrameMkLst>
          </pc:graphicFrameChg>
        </pc:sldLayoutChg>
        <pc:sldLayoutChg chg="addSp delSp modSp mod">
          <pc:chgData name="Joan Viladomiu Tora" userId="769a1043-f370-4a5b-a0e1-4e76db633912" providerId="ADAL" clId="{B72382DE-DD2E-41EE-B7A2-9D431A601203}" dt="2022-11-23T18:02:20.512" v="4501" actId="1076"/>
          <pc:sldLayoutMkLst>
            <pc:docMk/>
            <pc:sldMasterMk cId="688417701" sldId="2147483648"/>
            <pc:sldLayoutMk cId="4170429770" sldId="2147483657"/>
          </pc:sldLayoutMkLst>
          <pc:spChg chg="mod">
            <ac:chgData name="Joan Viladomiu Tora" userId="769a1043-f370-4a5b-a0e1-4e76db633912" providerId="ADAL" clId="{B72382DE-DD2E-41EE-B7A2-9D431A601203}" dt="2022-11-23T18:02:20.124" v="4276" actId="948"/>
            <ac:spMkLst>
              <pc:docMk/>
              <pc:sldMasterMk cId="688417701" sldId="2147483648"/>
              <pc:sldLayoutMk cId="4170429770" sldId="2147483657"/>
              <ac:spMk id="2" creationId="{2B0F12AD-D711-4AF1-A626-916206B31831}"/>
            </ac:spMkLst>
          </pc:spChg>
          <pc:spChg chg="mod">
            <ac:chgData name="Joan Viladomiu Tora" userId="769a1043-f370-4a5b-a0e1-4e76db633912" providerId="ADAL" clId="{B72382DE-DD2E-41EE-B7A2-9D431A601203}" dt="2022-11-23T18:02:18.413" v="3813" actId="790"/>
            <ac:spMkLst>
              <pc:docMk/>
              <pc:sldMasterMk cId="688417701" sldId="2147483648"/>
              <pc:sldLayoutMk cId="4170429770" sldId="2147483657"/>
              <ac:spMk id="4" creationId="{89582DAA-2B0B-4305-8A30-F083DC1664D3}"/>
            </ac:spMkLst>
          </pc:spChg>
          <pc:spChg chg="mod">
            <ac:chgData name="Joan Viladomiu Tora" userId="769a1043-f370-4a5b-a0e1-4e76db633912" providerId="ADAL" clId="{B72382DE-DD2E-41EE-B7A2-9D431A601203}" dt="2022-11-23T18:02:18.421" v="3814" actId="790"/>
            <ac:spMkLst>
              <pc:docMk/>
              <pc:sldMasterMk cId="688417701" sldId="2147483648"/>
              <pc:sldLayoutMk cId="4170429770" sldId="2147483657"/>
              <ac:spMk id="5" creationId="{058FC2BF-C561-4F39-AF22-5FF041DAF978}"/>
            </ac:spMkLst>
          </pc:spChg>
          <pc:spChg chg="mod">
            <ac:chgData name="Joan Viladomiu Tora" userId="769a1043-f370-4a5b-a0e1-4e76db633912" providerId="ADAL" clId="{B72382DE-DD2E-41EE-B7A2-9D431A601203}" dt="2022-11-23T18:02:18.433" v="3817" actId="20577"/>
            <ac:spMkLst>
              <pc:docMk/>
              <pc:sldMasterMk cId="688417701" sldId="2147483648"/>
              <pc:sldLayoutMk cId="4170429770" sldId="2147483657"/>
              <ac:spMk id="6" creationId="{E76248F3-AA85-4BFC-8970-6D5EC3BBE972}"/>
            </ac:spMkLst>
          </pc:spChg>
          <pc:spChg chg="mod">
            <ac:chgData name="Joan Viladomiu Tora" userId="769a1043-f370-4a5b-a0e1-4e76db633912" providerId="ADAL" clId="{B72382DE-DD2E-41EE-B7A2-9D431A601203}" dt="2022-11-23T18:02:18.435" v="3818" actId="790"/>
            <ac:spMkLst>
              <pc:docMk/>
              <pc:sldMasterMk cId="688417701" sldId="2147483648"/>
              <pc:sldLayoutMk cId="4170429770" sldId="2147483657"/>
              <ac:spMk id="7" creationId="{3BBECB65-5606-4A00-BE54-2184F1E7FAA9}"/>
            </ac:spMkLst>
          </pc:spChg>
          <pc:spChg chg="add del mod modVis">
            <ac:chgData name="Joan Viladomiu Tora" userId="769a1043-f370-4a5b-a0e1-4e76db633912" providerId="ADAL" clId="{B72382DE-DD2E-41EE-B7A2-9D431A601203}" dt="2022-11-23T17:43:30.510" v="3059"/>
            <ac:spMkLst>
              <pc:docMk/>
              <pc:sldMasterMk cId="688417701" sldId="2147483648"/>
              <pc:sldLayoutMk cId="4170429770" sldId="2147483657"/>
              <ac:spMk id="8" creationId="{E93BD039-6D56-48B4-A7F7-9B6CA43242CF}"/>
            </ac:spMkLst>
          </pc:spChg>
          <pc:spChg chg="del mod modVis">
            <ac:chgData name="Joan Viladomiu Tora" userId="769a1043-f370-4a5b-a0e1-4e76db633912" providerId="ADAL" clId="{B72382DE-DD2E-41EE-B7A2-9D431A601203}" dt="2022-11-23T18:02:20.506" v="4500" actId="478"/>
            <ac:spMkLst>
              <pc:docMk/>
              <pc:sldMasterMk cId="688417701" sldId="2147483648"/>
              <pc:sldLayoutMk cId="4170429770" sldId="2147483657"/>
              <ac:spMk id="10" creationId="{DB39C586-93EB-4BD7-8628-19D7310089EE}"/>
            </ac:spMkLst>
          </pc:spChg>
          <pc:graphicFrameChg chg="add mod ord modVis">
            <ac:chgData name="Joan Viladomiu Tora" userId="769a1043-f370-4a5b-a0e1-4e76db633912" providerId="ADAL" clId="{B72382DE-DD2E-41EE-B7A2-9D431A601203}" dt="2022-11-23T18:02:20.512" v="4501" actId="1076"/>
            <ac:graphicFrameMkLst>
              <pc:docMk/>
              <pc:sldMasterMk cId="688417701" sldId="2147483648"/>
              <pc:sldLayoutMk cId="4170429770" sldId="2147483657"/>
              <ac:graphicFrameMk id="9" creationId="{AAD6549E-A82E-4E8D-8AA8-88D94B918628}"/>
            </ac:graphicFrameMkLst>
          </pc:graphicFrameChg>
        </pc:sldLayoutChg>
        <pc:sldLayoutChg chg="addSp delSp modSp mod">
          <pc:chgData name="Joan Viladomiu Tora" userId="769a1043-f370-4a5b-a0e1-4e76db633912" providerId="ADAL" clId="{B72382DE-DD2E-41EE-B7A2-9D431A601203}" dt="2022-11-23T18:02:20.491" v="4496" actId="1076"/>
          <pc:sldLayoutMkLst>
            <pc:docMk/>
            <pc:sldMasterMk cId="688417701" sldId="2147483648"/>
            <pc:sldLayoutMk cId="80843473" sldId="2147483658"/>
          </pc:sldLayoutMkLst>
          <pc:spChg chg="mod">
            <ac:chgData name="Joan Viladomiu Tora" userId="769a1043-f370-4a5b-a0e1-4e76db633912" providerId="ADAL" clId="{B72382DE-DD2E-41EE-B7A2-9D431A601203}" dt="2022-11-23T18:02:20.008" v="4204" actId="948"/>
            <ac:spMkLst>
              <pc:docMk/>
              <pc:sldMasterMk cId="688417701" sldId="2147483648"/>
              <pc:sldLayoutMk cId="80843473" sldId="2147483658"/>
              <ac:spMk id="2" creationId="{E417FBAA-5B6E-47D5-95C3-0F8B2A5C81A8}"/>
            </ac:spMkLst>
          </pc:spChg>
          <pc:spChg chg="mod">
            <ac:chgData name="Joan Viladomiu Tora" userId="769a1043-f370-4a5b-a0e1-4e76db633912" providerId="ADAL" clId="{B72382DE-DD2E-41EE-B7A2-9D431A601203}" dt="2022-11-23T18:02:18.465" v="3820" actId="790"/>
            <ac:spMkLst>
              <pc:docMk/>
              <pc:sldMasterMk cId="688417701" sldId="2147483648"/>
              <pc:sldLayoutMk cId="80843473" sldId="2147483658"/>
              <ac:spMk id="3" creationId="{4B509091-43AF-4A72-8372-9719455396AA}"/>
            </ac:spMkLst>
          </pc:spChg>
          <pc:spChg chg="mod">
            <ac:chgData name="Joan Viladomiu Tora" userId="769a1043-f370-4a5b-a0e1-4e76db633912" providerId="ADAL" clId="{B72382DE-DD2E-41EE-B7A2-9D431A601203}" dt="2022-11-23T18:02:18.479" v="3821" actId="790"/>
            <ac:spMkLst>
              <pc:docMk/>
              <pc:sldMasterMk cId="688417701" sldId="2147483648"/>
              <pc:sldLayoutMk cId="80843473" sldId="2147483658"/>
              <ac:spMk id="4" creationId="{D10F3178-FCD2-48DE-BBB2-0DDC4945C93C}"/>
            </ac:spMkLst>
          </pc:spChg>
          <pc:spChg chg="mod">
            <ac:chgData name="Joan Viladomiu Tora" userId="769a1043-f370-4a5b-a0e1-4e76db633912" providerId="ADAL" clId="{B72382DE-DD2E-41EE-B7A2-9D431A601203}" dt="2022-11-23T18:02:18.494" v="3824" actId="20577"/>
            <ac:spMkLst>
              <pc:docMk/>
              <pc:sldMasterMk cId="688417701" sldId="2147483648"/>
              <pc:sldLayoutMk cId="80843473" sldId="2147483658"/>
              <ac:spMk id="5" creationId="{53B63CD5-862B-403D-9437-DBE72695645F}"/>
            </ac:spMkLst>
          </pc:spChg>
          <pc:spChg chg="mod">
            <ac:chgData name="Joan Viladomiu Tora" userId="769a1043-f370-4a5b-a0e1-4e76db633912" providerId="ADAL" clId="{B72382DE-DD2E-41EE-B7A2-9D431A601203}" dt="2022-11-23T18:02:18.497" v="3825" actId="790"/>
            <ac:spMkLst>
              <pc:docMk/>
              <pc:sldMasterMk cId="688417701" sldId="2147483648"/>
              <pc:sldLayoutMk cId="80843473" sldId="2147483658"/>
              <ac:spMk id="6" creationId="{A5CBC989-C888-4984-815A-161C026832BF}"/>
            </ac:spMkLst>
          </pc:spChg>
          <pc:spChg chg="add del mod modVis">
            <ac:chgData name="Joan Viladomiu Tora" userId="769a1043-f370-4a5b-a0e1-4e76db633912" providerId="ADAL" clId="{B72382DE-DD2E-41EE-B7A2-9D431A601203}" dt="2022-11-23T17:43:30.327" v="3023"/>
            <ac:spMkLst>
              <pc:docMk/>
              <pc:sldMasterMk cId="688417701" sldId="2147483648"/>
              <pc:sldLayoutMk cId="80843473" sldId="2147483658"/>
              <ac:spMk id="7" creationId="{ECBA9014-7514-4424-9A50-BDE06725D123}"/>
            </ac:spMkLst>
          </pc:spChg>
          <pc:spChg chg="del mod modVis">
            <ac:chgData name="Joan Viladomiu Tora" userId="769a1043-f370-4a5b-a0e1-4e76db633912" providerId="ADAL" clId="{B72382DE-DD2E-41EE-B7A2-9D431A601203}" dt="2022-11-23T18:02:20.485" v="4495" actId="478"/>
            <ac:spMkLst>
              <pc:docMk/>
              <pc:sldMasterMk cId="688417701" sldId="2147483648"/>
              <pc:sldLayoutMk cId="80843473" sldId="2147483658"/>
              <ac:spMk id="9" creationId="{07B65A0E-D006-4A72-A34F-31726719C3F9}"/>
            </ac:spMkLst>
          </pc:spChg>
          <pc:graphicFrameChg chg="add mod ord modVis">
            <ac:chgData name="Joan Viladomiu Tora" userId="769a1043-f370-4a5b-a0e1-4e76db633912" providerId="ADAL" clId="{B72382DE-DD2E-41EE-B7A2-9D431A601203}" dt="2022-11-23T18:02:20.491" v="4496" actId="1076"/>
            <ac:graphicFrameMkLst>
              <pc:docMk/>
              <pc:sldMasterMk cId="688417701" sldId="2147483648"/>
              <pc:sldLayoutMk cId="80843473" sldId="2147483658"/>
              <ac:graphicFrameMk id="8" creationId="{2983858B-FFEC-4060-8BF7-73EABD93098E}"/>
            </ac:graphicFrameMkLst>
          </pc:graphicFrameChg>
        </pc:sldLayoutChg>
        <pc:sldLayoutChg chg="addSp delSp modSp mod">
          <pc:chgData name="Joan Viladomiu Tora" userId="769a1043-f370-4a5b-a0e1-4e76db633912" providerId="ADAL" clId="{B72382DE-DD2E-41EE-B7A2-9D431A601203}" dt="2022-11-23T18:02:20.475" v="4492" actId="1076"/>
          <pc:sldLayoutMkLst>
            <pc:docMk/>
            <pc:sldMasterMk cId="688417701" sldId="2147483648"/>
            <pc:sldLayoutMk cId="1782849024" sldId="2147483659"/>
          </pc:sldLayoutMkLst>
          <pc:spChg chg="mod">
            <ac:chgData name="Joan Viladomiu Tora" userId="769a1043-f370-4a5b-a0e1-4e76db633912" providerId="ADAL" clId="{B72382DE-DD2E-41EE-B7A2-9D431A601203}" dt="2022-11-23T18:02:19.807" v="4131" actId="948"/>
            <ac:spMkLst>
              <pc:docMk/>
              <pc:sldMasterMk cId="688417701" sldId="2147483648"/>
              <pc:sldLayoutMk cId="1782849024" sldId="2147483659"/>
              <ac:spMk id="2" creationId="{A678D80A-46C8-451D-BE3F-194D1BDC464D}"/>
            </ac:spMkLst>
          </pc:spChg>
          <pc:spChg chg="mod">
            <ac:chgData name="Joan Viladomiu Tora" userId="769a1043-f370-4a5b-a0e1-4e76db633912" providerId="ADAL" clId="{B72382DE-DD2E-41EE-B7A2-9D431A601203}" dt="2022-11-23T18:02:18.517" v="3827" actId="790"/>
            <ac:spMkLst>
              <pc:docMk/>
              <pc:sldMasterMk cId="688417701" sldId="2147483648"/>
              <pc:sldLayoutMk cId="1782849024" sldId="2147483659"/>
              <ac:spMk id="3" creationId="{7AC64158-4966-4FE8-BCEB-2B84AAAECF51}"/>
            </ac:spMkLst>
          </pc:spChg>
          <pc:spChg chg="mod">
            <ac:chgData name="Joan Viladomiu Tora" userId="769a1043-f370-4a5b-a0e1-4e76db633912" providerId="ADAL" clId="{B72382DE-DD2E-41EE-B7A2-9D431A601203}" dt="2022-11-23T18:02:18.524" v="3828" actId="790"/>
            <ac:spMkLst>
              <pc:docMk/>
              <pc:sldMasterMk cId="688417701" sldId="2147483648"/>
              <pc:sldLayoutMk cId="1782849024" sldId="2147483659"/>
              <ac:spMk id="4" creationId="{0265E905-3702-4771-B914-86A9427942EF}"/>
            </ac:spMkLst>
          </pc:spChg>
          <pc:spChg chg="mod">
            <ac:chgData name="Joan Viladomiu Tora" userId="769a1043-f370-4a5b-a0e1-4e76db633912" providerId="ADAL" clId="{B72382DE-DD2E-41EE-B7A2-9D431A601203}" dt="2022-11-23T18:02:18.538" v="3831" actId="20577"/>
            <ac:spMkLst>
              <pc:docMk/>
              <pc:sldMasterMk cId="688417701" sldId="2147483648"/>
              <pc:sldLayoutMk cId="1782849024" sldId="2147483659"/>
              <ac:spMk id="5" creationId="{D095B218-12DA-4E0B-8D79-35FD875ADCB4}"/>
            </ac:spMkLst>
          </pc:spChg>
          <pc:spChg chg="mod">
            <ac:chgData name="Joan Viladomiu Tora" userId="769a1043-f370-4a5b-a0e1-4e76db633912" providerId="ADAL" clId="{B72382DE-DD2E-41EE-B7A2-9D431A601203}" dt="2022-11-23T18:02:18.540" v="3832" actId="790"/>
            <ac:spMkLst>
              <pc:docMk/>
              <pc:sldMasterMk cId="688417701" sldId="2147483648"/>
              <pc:sldLayoutMk cId="1782849024" sldId="2147483659"/>
              <ac:spMk id="6" creationId="{1EA72609-7FC8-4ED8-BCFE-ECCD83B48E11}"/>
            </ac:spMkLst>
          </pc:spChg>
          <pc:spChg chg="add del mod modVis">
            <ac:chgData name="Joan Viladomiu Tora" userId="769a1043-f370-4a5b-a0e1-4e76db633912" providerId="ADAL" clId="{B72382DE-DD2E-41EE-B7A2-9D431A601203}" dt="2022-11-23T17:43:30.199" v="2989"/>
            <ac:spMkLst>
              <pc:docMk/>
              <pc:sldMasterMk cId="688417701" sldId="2147483648"/>
              <pc:sldLayoutMk cId="1782849024" sldId="2147483659"/>
              <ac:spMk id="7" creationId="{C83EFC29-4518-4F4A-B177-284348A0C0B3}"/>
            </ac:spMkLst>
          </pc:spChg>
          <pc:spChg chg="del mod modVis">
            <ac:chgData name="Joan Viladomiu Tora" userId="769a1043-f370-4a5b-a0e1-4e76db633912" providerId="ADAL" clId="{B72382DE-DD2E-41EE-B7A2-9D431A601203}" dt="2022-11-23T18:02:20.470" v="4491" actId="478"/>
            <ac:spMkLst>
              <pc:docMk/>
              <pc:sldMasterMk cId="688417701" sldId="2147483648"/>
              <pc:sldLayoutMk cId="1782849024" sldId="2147483659"/>
              <ac:spMk id="9" creationId="{BDA2EA33-2F4E-4B21-8294-7F6E3AD19930}"/>
            </ac:spMkLst>
          </pc:spChg>
          <pc:graphicFrameChg chg="add mod ord modVis">
            <ac:chgData name="Joan Viladomiu Tora" userId="769a1043-f370-4a5b-a0e1-4e76db633912" providerId="ADAL" clId="{B72382DE-DD2E-41EE-B7A2-9D431A601203}" dt="2022-11-23T18:02:20.475" v="4492" actId="1076"/>
            <ac:graphicFrameMkLst>
              <pc:docMk/>
              <pc:sldMasterMk cId="688417701" sldId="2147483648"/>
              <pc:sldLayoutMk cId="1782849024" sldId="2147483659"/>
              <ac:graphicFrameMk id="8" creationId="{92422D60-54E0-4A9C-ABDD-D8D4218AB161}"/>
            </ac:graphicFrameMkLst>
          </pc:graphicFrameChg>
        </pc:sldLayoutChg>
        <pc:sldLayoutChg chg="addSp delSp modSp add mod modTransition">
          <pc:chgData name="Joan Viladomiu Tora" userId="769a1043-f370-4a5b-a0e1-4e76db633912" providerId="ADAL" clId="{B72382DE-DD2E-41EE-B7A2-9D431A601203}" dt="2022-11-23T22:14:47.145" v="6025" actId="962"/>
          <pc:sldLayoutMkLst>
            <pc:docMk/>
            <pc:sldMasterMk cId="688417701" sldId="2147483648"/>
            <pc:sldLayoutMk cId="1947981876" sldId="2147483660"/>
          </pc:sldLayoutMkLst>
          <pc:spChg chg="mod">
            <ac:chgData name="Joan Viladomiu Tora" userId="769a1043-f370-4a5b-a0e1-4e76db633912" providerId="ADAL" clId="{B72382DE-DD2E-41EE-B7A2-9D431A601203}" dt="2022-11-23T22:14:37.081" v="6021"/>
            <ac:spMkLst>
              <pc:docMk/>
              <pc:sldMasterMk cId="688417701" sldId="2147483648"/>
              <pc:sldLayoutMk cId="1947981876" sldId="2147483660"/>
              <ac:spMk id="2" creationId="{C81E7572-07E9-4488-85C3-452067ACA110}"/>
            </ac:spMkLst>
          </pc:spChg>
          <pc:spChg chg="mod">
            <ac:chgData name="Joan Viladomiu Tora" userId="769a1043-f370-4a5b-a0e1-4e76db633912" providerId="ADAL" clId="{B72382DE-DD2E-41EE-B7A2-9D431A601203}" dt="2022-11-23T22:14:37.081" v="6021"/>
            <ac:spMkLst>
              <pc:docMk/>
              <pc:sldMasterMk cId="688417701" sldId="2147483648"/>
              <pc:sldLayoutMk cId="1947981876" sldId="2147483660"/>
              <ac:spMk id="3" creationId="{B4AB51D9-A043-495A-9CD1-6FF4F820382B}"/>
            </ac:spMkLst>
          </pc:spChg>
          <pc:grpChg chg="mod">
            <ac:chgData name="Joan Viladomiu Tora" userId="769a1043-f370-4a5b-a0e1-4e76db633912" providerId="ADAL" clId="{B72382DE-DD2E-41EE-B7A2-9D431A601203}" dt="2022-11-23T22:14:37.081" v="6021"/>
            <ac:grpSpMkLst>
              <pc:docMk/>
              <pc:sldMasterMk cId="688417701" sldId="2147483648"/>
              <pc:sldLayoutMk cId="1947981876" sldId="2147483660"/>
              <ac:grpSpMk id="1" creationId="{00000000-0000-0000-0000-000000000000}"/>
            </ac:grpSpMkLst>
          </pc:grpChg>
          <pc:graphicFrameChg chg="mod">
            <ac:chgData name="Joan Viladomiu Tora" userId="769a1043-f370-4a5b-a0e1-4e76db633912" providerId="ADAL" clId="{B72382DE-DD2E-41EE-B7A2-9D431A601203}" dt="2022-11-23T22:14:37.081" v="6021"/>
            <ac:graphicFrameMkLst>
              <pc:docMk/>
              <pc:sldMasterMk cId="688417701" sldId="2147483648"/>
              <pc:sldLayoutMk cId="1947981876" sldId="2147483660"/>
              <ac:graphicFrameMk id="10" creationId="{3DBBA04C-F090-4D50-8638-032155318AED}"/>
            </ac:graphicFrameMkLst>
          </pc:graphicFrameChg>
          <pc:picChg chg="add mod">
            <ac:chgData name="Joan Viladomiu Tora" userId="769a1043-f370-4a5b-a0e1-4e76db633912" providerId="ADAL" clId="{B72382DE-DD2E-41EE-B7A2-9D431A601203}" dt="2022-11-23T22:14:47.145" v="6025" actId="962"/>
            <ac:picMkLst>
              <pc:docMk/>
              <pc:sldMasterMk cId="688417701" sldId="2147483648"/>
              <pc:sldLayoutMk cId="1947981876" sldId="2147483660"/>
              <ac:picMk id="5" creationId="{0B6ABAA4-0A8F-4B0D-98FF-11436411B161}"/>
            </ac:picMkLst>
          </pc:picChg>
          <pc:picChg chg="del mod">
            <ac:chgData name="Joan Viladomiu Tora" userId="769a1043-f370-4a5b-a0e1-4e76db633912" providerId="ADAL" clId="{B72382DE-DD2E-41EE-B7A2-9D431A601203}" dt="2022-11-23T22:14:39.600" v="6022" actId="478"/>
            <ac:picMkLst>
              <pc:docMk/>
              <pc:sldMasterMk cId="688417701" sldId="2147483648"/>
              <pc:sldLayoutMk cId="1947981876" sldId="2147483660"/>
              <ac:picMk id="13" creationId="{4CDCBF76-F30C-49D2-BDF7-351DE7988218}"/>
            </ac:picMkLst>
          </pc:picChg>
        </pc:sldLayoutChg>
      </pc:sldMasterChg>
    </pc:docChg>
  </pc:docChgLst>
  <pc:docChgLst>
    <pc:chgData name="Joan Viladomiu Tora" userId="769a1043-f370-4a5b-a0e1-4e76db633912" providerId="ADAL" clId="{98FCD910-96B8-4FBD-B873-F7DFA452F248}"/>
    <pc:docChg chg="undo redo custSel addSld modSld modMainMaster">
      <pc:chgData name="Joan Viladomiu Tora" userId="769a1043-f370-4a5b-a0e1-4e76db633912" providerId="ADAL" clId="{98FCD910-96B8-4FBD-B873-F7DFA452F248}" dt="2022-11-23T16:49:11.561" v="3510" actId="478"/>
      <pc:docMkLst>
        <pc:docMk/>
      </pc:docMkLst>
      <pc:sldChg chg="addSp delSp modSp mod">
        <pc:chgData name="Joan Viladomiu Tora" userId="769a1043-f370-4a5b-a0e1-4e76db633912" providerId="ADAL" clId="{98FCD910-96B8-4FBD-B873-F7DFA452F248}" dt="2022-11-23T16:48:23.187" v="3505"/>
        <pc:sldMkLst>
          <pc:docMk/>
          <pc:sldMk cId="2838035828" sldId="256"/>
        </pc:sldMkLst>
        <pc:spChg chg="mod">
          <ac:chgData name="Joan Viladomiu Tora" userId="769a1043-f370-4a5b-a0e1-4e76db633912" providerId="ADAL" clId="{98FCD910-96B8-4FBD-B873-F7DFA452F248}" dt="2022-11-23T16:48:23.095" v="3449" actId="948"/>
          <ac:spMkLst>
            <pc:docMk/>
            <pc:sldMk cId="2838035828" sldId="256"/>
            <ac:spMk id="2" creationId="{F5BEA453-86B2-4D6B-8F50-1355083F9C6F}"/>
          </ac:spMkLst>
        </pc:spChg>
        <pc:spChg chg="mod">
          <ac:chgData name="Joan Viladomiu Tora" userId="769a1043-f370-4a5b-a0e1-4e76db633912" providerId="ADAL" clId="{98FCD910-96B8-4FBD-B873-F7DFA452F248}" dt="2022-11-23T16:44:08.112" v="2591" actId="403"/>
          <ac:spMkLst>
            <pc:docMk/>
            <pc:sldMk cId="2838035828" sldId="256"/>
            <ac:spMk id="3" creationId="{53C366B4-FEF8-42A4-9EB9-64A743FF12B5}"/>
          </ac:spMkLst>
        </pc:spChg>
        <pc:spChg chg="add del mod modVis">
          <ac:chgData name="Joan Viladomiu Tora" userId="769a1043-f370-4a5b-a0e1-4e76db633912" providerId="ADAL" clId="{98FCD910-96B8-4FBD-B873-F7DFA452F248}" dt="2022-11-23T15:43:48.187" v="103"/>
          <ac:spMkLst>
            <pc:docMk/>
            <pc:sldMk cId="2838035828" sldId="256"/>
            <ac:spMk id="4" creationId="{67B48D5F-27B2-4E7A-AF35-E4E2EE01AD65}"/>
          </ac:spMkLst>
        </pc:spChg>
        <pc:spChg chg="add del mod modVis">
          <ac:chgData name="Joan Viladomiu Tora" userId="769a1043-f370-4a5b-a0e1-4e76db633912" providerId="ADAL" clId="{98FCD910-96B8-4FBD-B873-F7DFA452F248}" dt="2022-11-23T15:46:41.498" v="637"/>
          <ac:spMkLst>
            <pc:docMk/>
            <pc:sldMk cId="2838035828" sldId="256"/>
            <ac:spMk id="6" creationId="{8380FC84-7F81-4386-9AE7-F1A537003AEC}"/>
          </ac:spMkLst>
        </pc:spChg>
        <pc:spChg chg="add del mod modVis">
          <ac:chgData name="Joan Viladomiu Tora" userId="769a1043-f370-4a5b-a0e1-4e76db633912" providerId="ADAL" clId="{98FCD910-96B8-4FBD-B873-F7DFA452F248}" dt="2022-11-23T15:46:42.739" v="682"/>
          <ac:spMkLst>
            <pc:docMk/>
            <pc:sldMk cId="2838035828" sldId="256"/>
            <ac:spMk id="7" creationId="{9BCA41CB-AA02-4C1F-BB1E-7F94673AFBBA}"/>
          </ac:spMkLst>
        </pc:spChg>
        <pc:spChg chg="add del mod modVis">
          <ac:chgData name="Joan Viladomiu Tora" userId="769a1043-f370-4a5b-a0e1-4e76db633912" providerId="ADAL" clId="{98FCD910-96B8-4FBD-B873-F7DFA452F248}" dt="2022-11-23T15:46:44.198" v="729"/>
          <ac:spMkLst>
            <pc:docMk/>
            <pc:sldMk cId="2838035828" sldId="256"/>
            <ac:spMk id="8" creationId="{5183604D-FC73-457C-A8D9-82A88D9831AD}"/>
          </ac:spMkLst>
        </pc:spChg>
        <pc:spChg chg="add del mod modVis">
          <ac:chgData name="Joan Viladomiu Tora" userId="769a1043-f370-4a5b-a0e1-4e76db633912" providerId="ADAL" clId="{98FCD910-96B8-4FBD-B873-F7DFA452F248}" dt="2022-11-23T15:48:42.246" v="839"/>
          <ac:spMkLst>
            <pc:docMk/>
            <pc:sldMk cId="2838035828" sldId="256"/>
            <ac:spMk id="9" creationId="{1530434D-73FB-4247-B43B-4C7D0F150EEA}"/>
          </ac:spMkLst>
        </pc:spChg>
        <pc:spChg chg="add del mod modVis">
          <ac:chgData name="Joan Viladomiu Tora" userId="769a1043-f370-4a5b-a0e1-4e76db633912" providerId="ADAL" clId="{98FCD910-96B8-4FBD-B873-F7DFA452F248}" dt="2022-11-23T15:48:44.208" v="888"/>
          <ac:spMkLst>
            <pc:docMk/>
            <pc:sldMk cId="2838035828" sldId="256"/>
            <ac:spMk id="10" creationId="{FC33BC0A-7F6A-4F5A-9A77-05FC94B4865A}"/>
          </ac:spMkLst>
        </pc:spChg>
        <pc:spChg chg="add del mod modVis">
          <ac:chgData name="Joan Viladomiu Tora" userId="769a1043-f370-4a5b-a0e1-4e76db633912" providerId="ADAL" clId="{98FCD910-96B8-4FBD-B873-F7DFA452F248}" dt="2022-11-23T15:48:46.276" v="937"/>
          <ac:spMkLst>
            <pc:docMk/>
            <pc:sldMk cId="2838035828" sldId="256"/>
            <ac:spMk id="11" creationId="{03795C52-E0BD-4934-9032-F07014456120}"/>
          </ac:spMkLst>
        </pc:spChg>
        <pc:spChg chg="add del mod modVis">
          <ac:chgData name="Joan Viladomiu Tora" userId="769a1043-f370-4a5b-a0e1-4e76db633912" providerId="ADAL" clId="{98FCD910-96B8-4FBD-B873-F7DFA452F248}" dt="2022-11-23T15:48:47.582" v="984"/>
          <ac:spMkLst>
            <pc:docMk/>
            <pc:sldMk cId="2838035828" sldId="256"/>
            <ac:spMk id="12" creationId="{A5D65ED9-9FBF-4773-8FE0-969AAFA8D583}"/>
          </ac:spMkLst>
        </pc:spChg>
        <pc:spChg chg="add del mod modVis">
          <ac:chgData name="Joan Viladomiu Tora" userId="769a1043-f370-4a5b-a0e1-4e76db633912" providerId="ADAL" clId="{98FCD910-96B8-4FBD-B873-F7DFA452F248}" dt="2022-11-23T15:48:49.567" v="1027"/>
          <ac:spMkLst>
            <pc:docMk/>
            <pc:sldMk cId="2838035828" sldId="256"/>
            <ac:spMk id="13" creationId="{AF4A1EC1-27C9-476F-B650-0112CF93E142}"/>
          </ac:spMkLst>
        </pc:spChg>
        <pc:spChg chg="add del mod modVis">
          <ac:chgData name="Joan Viladomiu Tora" userId="769a1043-f370-4a5b-a0e1-4e76db633912" providerId="ADAL" clId="{98FCD910-96B8-4FBD-B873-F7DFA452F248}" dt="2022-11-23T15:48:51.168" v="1072"/>
          <ac:spMkLst>
            <pc:docMk/>
            <pc:sldMk cId="2838035828" sldId="256"/>
            <ac:spMk id="14" creationId="{16A51F0A-3605-49CD-9CDB-894017A01A28}"/>
          </ac:spMkLst>
        </pc:spChg>
        <pc:spChg chg="add del mod modVis">
          <ac:chgData name="Joan Viladomiu Tora" userId="769a1043-f370-4a5b-a0e1-4e76db633912" providerId="ADAL" clId="{98FCD910-96B8-4FBD-B873-F7DFA452F248}" dt="2022-11-23T15:48:54.477" v="1120"/>
          <ac:spMkLst>
            <pc:docMk/>
            <pc:sldMk cId="2838035828" sldId="256"/>
            <ac:spMk id="15" creationId="{8DDA576D-34FB-4E2A-8BE1-89BC1A45415C}"/>
          </ac:spMkLst>
        </pc:spChg>
        <pc:spChg chg="add del mod modVis">
          <ac:chgData name="Joan Viladomiu Tora" userId="769a1043-f370-4a5b-a0e1-4e76db633912" providerId="ADAL" clId="{98FCD910-96B8-4FBD-B873-F7DFA452F248}" dt="2022-11-23T15:48:56.169" v="1168"/>
          <ac:spMkLst>
            <pc:docMk/>
            <pc:sldMk cId="2838035828" sldId="256"/>
            <ac:spMk id="16" creationId="{BFBA03E7-F9FD-45AA-8BEC-146A74BC8CA5}"/>
          </ac:spMkLst>
        </pc:spChg>
        <pc:spChg chg="add del mod modVis">
          <ac:chgData name="Joan Viladomiu Tora" userId="769a1043-f370-4a5b-a0e1-4e76db633912" providerId="ADAL" clId="{98FCD910-96B8-4FBD-B873-F7DFA452F248}" dt="2022-11-23T15:48:57.670" v="1213"/>
          <ac:spMkLst>
            <pc:docMk/>
            <pc:sldMk cId="2838035828" sldId="256"/>
            <ac:spMk id="17" creationId="{2AF16DDB-0D87-4363-88E7-72C1395DCCEE}"/>
          </ac:spMkLst>
        </pc:spChg>
        <pc:spChg chg="add del mod modVis">
          <ac:chgData name="Joan Viladomiu Tora" userId="769a1043-f370-4a5b-a0e1-4e76db633912" providerId="ADAL" clId="{98FCD910-96B8-4FBD-B873-F7DFA452F248}" dt="2022-11-23T15:48:58.866" v="1259"/>
          <ac:spMkLst>
            <pc:docMk/>
            <pc:sldMk cId="2838035828" sldId="256"/>
            <ac:spMk id="18" creationId="{022279A1-4D91-4554-980E-AD5B355DF00C}"/>
          </ac:spMkLst>
        </pc:spChg>
        <pc:spChg chg="add del mod modVis">
          <ac:chgData name="Joan Viladomiu Tora" userId="769a1043-f370-4a5b-a0e1-4e76db633912" providerId="ADAL" clId="{98FCD910-96B8-4FBD-B873-F7DFA452F248}" dt="2022-11-23T15:49:07.237" v="1302"/>
          <ac:spMkLst>
            <pc:docMk/>
            <pc:sldMk cId="2838035828" sldId="256"/>
            <ac:spMk id="19" creationId="{1E1CDA9C-5302-4439-A8BB-2B9F3ADB41EF}"/>
          </ac:spMkLst>
        </pc:spChg>
        <pc:spChg chg="add del mod modVis">
          <ac:chgData name="Joan Viladomiu Tora" userId="769a1043-f370-4a5b-a0e1-4e76db633912" providerId="ADAL" clId="{98FCD910-96B8-4FBD-B873-F7DFA452F248}" dt="2022-11-23T15:49:11.395" v="1345"/>
          <ac:spMkLst>
            <pc:docMk/>
            <pc:sldMk cId="2838035828" sldId="256"/>
            <ac:spMk id="20" creationId="{49DFF185-AF4A-4FBA-B750-BBDD89AA8B89}"/>
          </ac:spMkLst>
        </pc:spChg>
        <pc:spChg chg="add del mod modVis">
          <ac:chgData name="Joan Viladomiu Tora" userId="769a1043-f370-4a5b-a0e1-4e76db633912" providerId="ADAL" clId="{98FCD910-96B8-4FBD-B873-F7DFA452F248}" dt="2022-11-23T15:49:17.016" v="1388"/>
          <ac:spMkLst>
            <pc:docMk/>
            <pc:sldMk cId="2838035828" sldId="256"/>
            <ac:spMk id="21" creationId="{06038657-198B-483B-BA50-1E1E92DB8A8E}"/>
          </ac:spMkLst>
        </pc:spChg>
        <pc:spChg chg="add del mod modVis">
          <ac:chgData name="Joan Viladomiu Tora" userId="769a1043-f370-4a5b-a0e1-4e76db633912" providerId="ADAL" clId="{98FCD910-96B8-4FBD-B873-F7DFA452F248}" dt="2022-11-23T16:36:33.619" v="1717"/>
          <ac:spMkLst>
            <pc:docMk/>
            <pc:sldMk cId="2838035828" sldId="256"/>
            <ac:spMk id="22" creationId="{54799A5B-CEF8-4F8A-949D-1F5FBFFDC96A}"/>
          </ac:spMkLst>
        </pc:spChg>
        <pc:spChg chg="add del mod modVis">
          <ac:chgData name="Joan Viladomiu Tora" userId="769a1043-f370-4a5b-a0e1-4e76db633912" providerId="ADAL" clId="{98FCD910-96B8-4FBD-B873-F7DFA452F248}" dt="2022-11-23T16:38:20.137" v="1772"/>
          <ac:spMkLst>
            <pc:docMk/>
            <pc:sldMk cId="2838035828" sldId="256"/>
            <ac:spMk id="23" creationId="{D17EA9F4-3F20-4DFA-9139-64D5FD29EA0C}"/>
          </ac:spMkLst>
        </pc:spChg>
        <pc:spChg chg="add del mod modVis">
          <ac:chgData name="Joan Viladomiu Tora" userId="769a1043-f370-4a5b-a0e1-4e76db633912" providerId="ADAL" clId="{98FCD910-96B8-4FBD-B873-F7DFA452F248}" dt="2022-11-23T16:38:21.681" v="1815"/>
          <ac:spMkLst>
            <pc:docMk/>
            <pc:sldMk cId="2838035828" sldId="256"/>
            <ac:spMk id="24" creationId="{C192ADA1-86E5-4FC1-A277-F0FAC9D7D1C5}"/>
          </ac:spMkLst>
        </pc:spChg>
        <pc:spChg chg="add del mod modVis">
          <ac:chgData name="Joan Viladomiu Tora" userId="769a1043-f370-4a5b-a0e1-4e76db633912" providerId="ADAL" clId="{98FCD910-96B8-4FBD-B873-F7DFA452F248}" dt="2022-11-23T16:38:22.656" v="1860"/>
          <ac:spMkLst>
            <pc:docMk/>
            <pc:sldMk cId="2838035828" sldId="256"/>
            <ac:spMk id="25" creationId="{5078FBD1-5AA9-470B-BC3E-4064B3CEA8C4}"/>
          </ac:spMkLst>
        </pc:spChg>
        <pc:spChg chg="add del mod modVis">
          <ac:chgData name="Joan Viladomiu Tora" userId="769a1043-f370-4a5b-a0e1-4e76db633912" providerId="ADAL" clId="{98FCD910-96B8-4FBD-B873-F7DFA452F248}" dt="2022-11-23T16:38:23.911" v="1906"/>
          <ac:spMkLst>
            <pc:docMk/>
            <pc:sldMk cId="2838035828" sldId="256"/>
            <ac:spMk id="26" creationId="{AB341A6E-6532-422A-B3E3-61451BD6732B}"/>
          </ac:spMkLst>
        </pc:spChg>
        <pc:spChg chg="add del">
          <ac:chgData name="Joan Viladomiu Tora" userId="769a1043-f370-4a5b-a0e1-4e76db633912" providerId="ADAL" clId="{98FCD910-96B8-4FBD-B873-F7DFA452F248}" dt="2022-11-23T16:39:46.001" v="1914"/>
          <ac:spMkLst>
            <pc:docMk/>
            <pc:sldMk cId="2838035828" sldId="256"/>
            <ac:spMk id="27" creationId="{CC300D3A-CD3B-4355-9D24-DB67FB1D8DC4}"/>
          </ac:spMkLst>
        </pc:spChg>
        <pc:spChg chg="add del mod modVis">
          <ac:chgData name="Joan Viladomiu Tora" userId="769a1043-f370-4a5b-a0e1-4e76db633912" providerId="ADAL" clId="{98FCD910-96B8-4FBD-B873-F7DFA452F248}" dt="2022-11-23T16:42:02.413" v="1992"/>
          <ac:spMkLst>
            <pc:docMk/>
            <pc:sldMk cId="2838035828" sldId="256"/>
            <ac:spMk id="29" creationId="{99DA60D3-AE3C-431C-A92A-98B601264857}"/>
          </ac:spMkLst>
        </pc:spChg>
        <pc:spChg chg="add del mod modVis">
          <ac:chgData name="Joan Viladomiu Tora" userId="769a1043-f370-4a5b-a0e1-4e76db633912" providerId="ADAL" clId="{98FCD910-96B8-4FBD-B873-F7DFA452F248}" dt="2022-11-23T16:42:04.687" v="2043"/>
          <ac:spMkLst>
            <pc:docMk/>
            <pc:sldMk cId="2838035828" sldId="256"/>
            <ac:spMk id="30" creationId="{540EA30D-7912-4505-84C0-628B25D2E849}"/>
          </ac:spMkLst>
        </pc:spChg>
        <pc:spChg chg="add del mod modVis">
          <ac:chgData name="Joan Viladomiu Tora" userId="769a1043-f370-4a5b-a0e1-4e76db633912" providerId="ADAL" clId="{98FCD910-96B8-4FBD-B873-F7DFA452F248}" dt="2022-11-23T16:42:06.354" v="2090"/>
          <ac:spMkLst>
            <pc:docMk/>
            <pc:sldMk cId="2838035828" sldId="256"/>
            <ac:spMk id="31" creationId="{5AFCED3E-F497-4A3F-9590-C5EDB8D4A4E3}"/>
          </ac:spMkLst>
        </pc:spChg>
        <pc:spChg chg="add del mod modVis">
          <ac:chgData name="Joan Viladomiu Tora" userId="769a1043-f370-4a5b-a0e1-4e76db633912" providerId="ADAL" clId="{98FCD910-96B8-4FBD-B873-F7DFA452F248}" dt="2022-11-23T16:42:07.406" v="2135"/>
          <ac:spMkLst>
            <pc:docMk/>
            <pc:sldMk cId="2838035828" sldId="256"/>
            <ac:spMk id="32" creationId="{4F519E58-805F-490B-8A70-7139B39B3FB5}"/>
          </ac:spMkLst>
        </pc:spChg>
        <pc:spChg chg="add del mod modVis">
          <ac:chgData name="Joan Viladomiu Tora" userId="769a1043-f370-4a5b-a0e1-4e76db633912" providerId="ADAL" clId="{98FCD910-96B8-4FBD-B873-F7DFA452F248}" dt="2022-11-23T16:42:08.987" v="2182"/>
          <ac:spMkLst>
            <pc:docMk/>
            <pc:sldMk cId="2838035828" sldId="256"/>
            <ac:spMk id="33" creationId="{1800DEB4-2877-4DF4-8D0F-0CA01304AF66}"/>
          </ac:spMkLst>
        </pc:spChg>
        <pc:spChg chg="add del mod modVis">
          <ac:chgData name="Joan Viladomiu Tora" userId="769a1043-f370-4a5b-a0e1-4e76db633912" providerId="ADAL" clId="{98FCD910-96B8-4FBD-B873-F7DFA452F248}" dt="2022-11-23T16:42:11.751" v="2232"/>
          <ac:spMkLst>
            <pc:docMk/>
            <pc:sldMk cId="2838035828" sldId="256"/>
            <ac:spMk id="34" creationId="{44605A1B-9EE9-492A-B713-F9BDE20D0B9B}"/>
          </ac:spMkLst>
        </pc:spChg>
        <pc:spChg chg="add del">
          <ac:chgData name="Joan Viladomiu Tora" userId="769a1043-f370-4a5b-a0e1-4e76db633912" providerId="ADAL" clId="{98FCD910-96B8-4FBD-B873-F7DFA452F248}" dt="2022-11-23T16:42:31.802" v="2236" actId="478"/>
          <ac:spMkLst>
            <pc:docMk/>
            <pc:sldMk cId="2838035828" sldId="256"/>
            <ac:spMk id="35" creationId="{8436C958-78E6-42BF-9EA3-E1E6925BF130}"/>
          </ac:spMkLst>
        </pc:spChg>
        <pc:spChg chg="add del mod modVis">
          <ac:chgData name="Joan Viladomiu Tora" userId="769a1043-f370-4a5b-a0e1-4e76db633912" providerId="ADAL" clId="{98FCD910-96B8-4FBD-B873-F7DFA452F248}" dt="2022-11-23T16:42:35.626" v="2284"/>
          <ac:spMkLst>
            <pc:docMk/>
            <pc:sldMk cId="2838035828" sldId="256"/>
            <ac:spMk id="36" creationId="{753AA431-5834-4CA6-AA78-B02FF54EEE1D}"/>
          </ac:spMkLst>
        </pc:spChg>
        <pc:spChg chg="add del mod modVis">
          <ac:chgData name="Joan Viladomiu Tora" userId="769a1043-f370-4a5b-a0e1-4e76db633912" providerId="ADAL" clId="{98FCD910-96B8-4FBD-B873-F7DFA452F248}" dt="2022-11-23T16:42:36.413" v="2327"/>
          <ac:spMkLst>
            <pc:docMk/>
            <pc:sldMk cId="2838035828" sldId="256"/>
            <ac:spMk id="37" creationId="{C5DBF30E-6192-4FAB-A0F7-738C37FCB88D}"/>
          </ac:spMkLst>
        </pc:spChg>
        <pc:spChg chg="add del mod modVis">
          <ac:chgData name="Joan Viladomiu Tora" userId="769a1043-f370-4a5b-a0e1-4e76db633912" providerId="ADAL" clId="{98FCD910-96B8-4FBD-B873-F7DFA452F248}" dt="2022-11-23T16:42:51.592" v="2370"/>
          <ac:spMkLst>
            <pc:docMk/>
            <pc:sldMk cId="2838035828" sldId="256"/>
            <ac:spMk id="38" creationId="{FBD48BC5-BDC4-4F17-897B-7408AC75D190}"/>
          </ac:spMkLst>
        </pc:spChg>
        <pc:spChg chg="add del mod modVis">
          <ac:chgData name="Joan Viladomiu Tora" userId="769a1043-f370-4a5b-a0e1-4e76db633912" providerId="ADAL" clId="{98FCD910-96B8-4FBD-B873-F7DFA452F248}" dt="2022-11-23T16:43:39.696" v="2418"/>
          <ac:spMkLst>
            <pc:docMk/>
            <pc:sldMk cId="2838035828" sldId="256"/>
            <ac:spMk id="39" creationId="{A13D767A-FEE9-4A26-ACA4-EA952F3972DB}"/>
          </ac:spMkLst>
        </pc:spChg>
        <pc:spChg chg="add del mod modVis">
          <ac:chgData name="Joan Viladomiu Tora" userId="769a1043-f370-4a5b-a0e1-4e76db633912" providerId="ADAL" clId="{98FCD910-96B8-4FBD-B873-F7DFA452F248}" dt="2022-11-23T16:43:50.715" v="2585" actId="962"/>
          <ac:spMkLst>
            <pc:docMk/>
            <pc:sldMk cId="2838035828" sldId="256"/>
            <ac:spMk id="40" creationId="{3FD15C8B-2E7F-41F0-B5C4-7D5405799108}"/>
          </ac:spMkLst>
        </pc:spChg>
        <pc:spChg chg="add del mod modVis">
          <ac:chgData name="Joan Viladomiu Tora" userId="769a1043-f370-4a5b-a0e1-4e76db633912" providerId="ADAL" clId="{98FCD910-96B8-4FBD-B873-F7DFA452F248}" dt="2022-11-23T16:43:50.283" v="2543" actId="962"/>
          <ac:spMkLst>
            <pc:docMk/>
            <pc:sldMk cId="2838035828" sldId="256"/>
            <ac:spMk id="41" creationId="{E475BDB8-B17D-40E8-9D58-E6CA2F3B96C4}"/>
          </ac:spMkLst>
        </pc:spChg>
        <pc:spChg chg="add del mod modVis">
          <ac:chgData name="Joan Viladomiu Tora" userId="769a1043-f370-4a5b-a0e1-4e76db633912" providerId="ADAL" clId="{98FCD910-96B8-4FBD-B873-F7DFA452F248}" dt="2022-11-23T16:44:15.565" v="2638"/>
          <ac:spMkLst>
            <pc:docMk/>
            <pc:sldMk cId="2838035828" sldId="256"/>
            <ac:spMk id="42" creationId="{68626509-27D0-470B-A431-7E409D2F5AC2}"/>
          </ac:spMkLst>
        </pc:spChg>
        <pc:spChg chg="add del mod modVis">
          <ac:chgData name="Joan Viladomiu Tora" userId="769a1043-f370-4a5b-a0e1-4e76db633912" providerId="ADAL" clId="{98FCD910-96B8-4FBD-B873-F7DFA452F248}" dt="2022-11-23T16:44:34.316" v="2681"/>
          <ac:spMkLst>
            <pc:docMk/>
            <pc:sldMk cId="2838035828" sldId="256"/>
            <ac:spMk id="43" creationId="{9CDE1A3C-0557-4B35-814D-0545A43A2368}"/>
          </ac:spMkLst>
        </pc:spChg>
        <pc:spChg chg="add del mod modVis">
          <ac:chgData name="Joan Viladomiu Tora" userId="769a1043-f370-4a5b-a0e1-4e76db633912" providerId="ADAL" clId="{98FCD910-96B8-4FBD-B873-F7DFA452F248}" dt="2022-11-23T16:44:45.165" v="2724"/>
          <ac:spMkLst>
            <pc:docMk/>
            <pc:sldMk cId="2838035828" sldId="256"/>
            <ac:spMk id="44" creationId="{5C286BBD-FA23-4433-92DC-58F7E88E6122}"/>
          </ac:spMkLst>
        </pc:spChg>
        <pc:spChg chg="add del mod modVis">
          <ac:chgData name="Joan Viladomiu Tora" userId="769a1043-f370-4a5b-a0e1-4e76db633912" providerId="ADAL" clId="{98FCD910-96B8-4FBD-B873-F7DFA452F248}" dt="2022-11-23T16:44:48.484" v="2771"/>
          <ac:spMkLst>
            <pc:docMk/>
            <pc:sldMk cId="2838035828" sldId="256"/>
            <ac:spMk id="45" creationId="{BD131549-B78B-4ACE-8B01-7EEF866A0B16}"/>
          </ac:spMkLst>
        </pc:spChg>
        <pc:spChg chg="add del mod modVis">
          <ac:chgData name="Joan Viladomiu Tora" userId="769a1043-f370-4a5b-a0e1-4e76db633912" providerId="ADAL" clId="{98FCD910-96B8-4FBD-B873-F7DFA452F248}" dt="2022-11-23T16:44:58.129" v="2814"/>
          <ac:spMkLst>
            <pc:docMk/>
            <pc:sldMk cId="2838035828" sldId="256"/>
            <ac:spMk id="46" creationId="{1A576400-A565-4614-BD4F-FDC30BEEDF65}"/>
          </ac:spMkLst>
        </pc:spChg>
        <pc:spChg chg="add del mod modVis">
          <ac:chgData name="Joan Viladomiu Tora" userId="769a1043-f370-4a5b-a0e1-4e76db633912" providerId="ADAL" clId="{98FCD910-96B8-4FBD-B873-F7DFA452F248}" dt="2022-11-23T16:46:45.046" v="2996" actId="962"/>
          <ac:spMkLst>
            <pc:docMk/>
            <pc:sldMk cId="2838035828" sldId="256"/>
            <ac:spMk id="47" creationId="{4E010A8F-5B00-4FB0-A0AA-9AD27E52496B}"/>
          </ac:spMkLst>
        </pc:spChg>
        <pc:spChg chg="add del mod modVis">
          <ac:chgData name="Joan Viladomiu Tora" userId="769a1043-f370-4a5b-a0e1-4e76db633912" providerId="ADAL" clId="{98FCD910-96B8-4FBD-B873-F7DFA452F248}" dt="2022-11-23T16:46:55.411" v="3041"/>
          <ac:spMkLst>
            <pc:docMk/>
            <pc:sldMk cId="2838035828" sldId="256"/>
            <ac:spMk id="48" creationId="{F2A43971-852F-4EF5-B50E-80BA7F304606}"/>
          </ac:spMkLst>
        </pc:spChg>
        <pc:spChg chg="add del mod modVis">
          <ac:chgData name="Joan Viladomiu Tora" userId="769a1043-f370-4a5b-a0e1-4e76db633912" providerId="ADAL" clId="{98FCD910-96B8-4FBD-B873-F7DFA452F248}" dt="2022-11-23T16:47:04.188" v="3084"/>
          <ac:spMkLst>
            <pc:docMk/>
            <pc:sldMk cId="2838035828" sldId="256"/>
            <ac:spMk id="49" creationId="{A67C5264-CA40-4B35-8EDD-074CF0990F2B}"/>
          </ac:spMkLst>
        </pc:spChg>
        <pc:spChg chg="add del mod modVis">
          <ac:chgData name="Joan Viladomiu Tora" userId="769a1043-f370-4a5b-a0e1-4e76db633912" providerId="ADAL" clId="{98FCD910-96B8-4FBD-B873-F7DFA452F248}" dt="2022-11-23T16:47:16.037" v="3127"/>
          <ac:spMkLst>
            <pc:docMk/>
            <pc:sldMk cId="2838035828" sldId="256"/>
            <ac:spMk id="50" creationId="{30217EBB-C411-47AD-9F8B-F862C1A412A3}"/>
          </ac:spMkLst>
        </pc:spChg>
        <pc:spChg chg="add del mod modVis">
          <ac:chgData name="Joan Viladomiu Tora" userId="769a1043-f370-4a5b-a0e1-4e76db633912" providerId="ADAL" clId="{98FCD910-96B8-4FBD-B873-F7DFA452F248}" dt="2022-11-23T16:47:29.379" v="3170"/>
          <ac:spMkLst>
            <pc:docMk/>
            <pc:sldMk cId="2838035828" sldId="256"/>
            <ac:spMk id="51" creationId="{8F075B5A-D376-4091-8BF2-2F14E634CE93}"/>
          </ac:spMkLst>
        </pc:spChg>
        <pc:spChg chg="add del mod modVis">
          <ac:chgData name="Joan Viladomiu Tora" userId="769a1043-f370-4a5b-a0e1-4e76db633912" providerId="ADAL" clId="{98FCD910-96B8-4FBD-B873-F7DFA452F248}" dt="2022-11-23T16:47:34.484" v="3213"/>
          <ac:spMkLst>
            <pc:docMk/>
            <pc:sldMk cId="2838035828" sldId="256"/>
            <ac:spMk id="52" creationId="{9CD87FAD-66D3-4FDD-B81E-BE7CE44CA93D}"/>
          </ac:spMkLst>
        </pc:spChg>
        <pc:spChg chg="add del mod modVis">
          <ac:chgData name="Joan Viladomiu Tora" userId="769a1043-f370-4a5b-a0e1-4e76db633912" providerId="ADAL" clId="{98FCD910-96B8-4FBD-B873-F7DFA452F248}" dt="2022-11-23T16:47:44.825" v="3271"/>
          <ac:spMkLst>
            <pc:docMk/>
            <pc:sldMk cId="2838035828" sldId="256"/>
            <ac:spMk id="53" creationId="{5B836A1F-FE46-45DB-9D5A-E626B89F90AD}"/>
          </ac:spMkLst>
        </pc:spChg>
        <pc:spChg chg="add del mod modVis">
          <ac:chgData name="Joan Viladomiu Tora" userId="769a1043-f370-4a5b-a0e1-4e76db633912" providerId="ADAL" clId="{98FCD910-96B8-4FBD-B873-F7DFA452F248}" dt="2022-11-23T16:47:50.419" v="3329"/>
          <ac:spMkLst>
            <pc:docMk/>
            <pc:sldMk cId="2838035828" sldId="256"/>
            <ac:spMk id="54" creationId="{D580CB87-B16B-4F2A-ADF9-FE8244CB0D54}"/>
          </ac:spMkLst>
        </pc:spChg>
        <pc:spChg chg="add del mod modVis">
          <ac:chgData name="Joan Viladomiu Tora" userId="769a1043-f370-4a5b-a0e1-4e76db633912" providerId="ADAL" clId="{98FCD910-96B8-4FBD-B873-F7DFA452F248}" dt="2022-11-23T16:47:56.773" v="3387"/>
          <ac:spMkLst>
            <pc:docMk/>
            <pc:sldMk cId="2838035828" sldId="256"/>
            <ac:spMk id="55" creationId="{409A6E4C-E739-4E77-A196-EF0F7ADB73E3}"/>
          </ac:spMkLst>
        </pc:spChg>
        <pc:spChg chg="add del mod modVis">
          <ac:chgData name="Joan Viladomiu Tora" userId="769a1043-f370-4a5b-a0e1-4e76db633912" providerId="ADAL" clId="{98FCD910-96B8-4FBD-B873-F7DFA452F248}" dt="2022-11-23T16:48:07.077" v="3445"/>
          <ac:spMkLst>
            <pc:docMk/>
            <pc:sldMk cId="2838035828" sldId="256"/>
            <ac:spMk id="56" creationId="{8C8E06A2-C3D1-4332-9B4F-C45D340A9667}"/>
          </ac:spMkLst>
        </pc:spChg>
        <pc:spChg chg="add del mod modVis">
          <ac:chgData name="Joan Viladomiu Tora" userId="769a1043-f370-4a5b-a0e1-4e76db633912" providerId="ADAL" clId="{98FCD910-96B8-4FBD-B873-F7DFA452F248}" dt="2022-11-23T16:48:23.180" v="3503"/>
          <ac:spMkLst>
            <pc:docMk/>
            <pc:sldMk cId="2838035828" sldId="256"/>
            <ac:spMk id="57" creationId="{AE37F162-6D39-46C8-A39A-44286D564460}"/>
          </ac:spMkLst>
        </pc:spChg>
        <pc:graphicFrameChg chg="add mod ord modVis">
          <ac:chgData name="Joan Viladomiu Tora" userId="769a1043-f370-4a5b-a0e1-4e76db633912" providerId="ADAL" clId="{98FCD910-96B8-4FBD-B873-F7DFA452F248}" dt="2022-11-23T16:48:23.187" v="3505"/>
          <ac:graphicFrameMkLst>
            <pc:docMk/>
            <pc:sldMk cId="2838035828" sldId="256"/>
            <ac:graphicFrameMk id="5" creationId="{031B39ED-941B-40A2-BB3C-B76D12F43DA7}"/>
          </ac:graphicFrameMkLst>
        </pc:graphicFrameChg>
        <pc:picChg chg="add mod">
          <ac:chgData name="Joan Viladomiu Tora" userId="769a1043-f370-4a5b-a0e1-4e76db633912" providerId="ADAL" clId="{98FCD910-96B8-4FBD-B873-F7DFA452F248}" dt="2022-11-23T16:41:50.641" v="1950" actId="1076"/>
          <ac:picMkLst>
            <pc:docMk/>
            <pc:sldMk cId="2838035828" sldId="256"/>
            <ac:picMk id="28" creationId="{4D0B4D89-D248-4F23-8CBA-EC3EA727D0A6}"/>
          </ac:picMkLst>
        </pc:picChg>
      </pc:sldChg>
      <pc:sldChg chg="addSp delSp modSp add mod modClrScheme chgLayout">
        <pc:chgData name="Joan Viladomiu Tora" userId="769a1043-f370-4a5b-a0e1-4e76db633912" providerId="ADAL" clId="{98FCD910-96B8-4FBD-B873-F7DFA452F248}" dt="2022-11-23T15:57:37.149" v="1643" actId="20577"/>
        <pc:sldMkLst>
          <pc:docMk/>
          <pc:sldMk cId="1082496383" sldId="257"/>
        </pc:sldMkLst>
        <pc:spChg chg="del mod ord">
          <ac:chgData name="Joan Viladomiu Tora" userId="769a1043-f370-4a5b-a0e1-4e76db633912" providerId="ADAL" clId="{98FCD910-96B8-4FBD-B873-F7DFA452F248}" dt="2022-11-23T15:44:11.161" v="141"/>
          <ac:spMkLst>
            <pc:docMk/>
            <pc:sldMk cId="1082496383" sldId="257"/>
            <ac:spMk id="2" creationId="{F5BEA453-86B2-4D6B-8F50-1355083F9C6F}"/>
          </ac:spMkLst>
        </pc:spChg>
        <pc:spChg chg="del mod">
          <ac:chgData name="Joan Viladomiu Tora" userId="769a1043-f370-4a5b-a0e1-4e76db633912" providerId="ADAL" clId="{98FCD910-96B8-4FBD-B873-F7DFA452F248}" dt="2022-11-23T15:44:11.161" v="141"/>
          <ac:spMkLst>
            <pc:docMk/>
            <pc:sldMk cId="1082496383" sldId="257"/>
            <ac:spMk id="3" creationId="{53C366B4-FEF8-42A4-9EB9-64A743FF12B5}"/>
          </ac:spMkLst>
        </pc:spChg>
        <pc:spChg chg="add mod ord">
          <ac:chgData name="Joan Viladomiu Tora" userId="769a1043-f370-4a5b-a0e1-4e76db633912" providerId="ADAL" clId="{98FCD910-96B8-4FBD-B873-F7DFA452F248}" dt="2022-11-23T15:49:38.949" v="1401"/>
          <ac:spMkLst>
            <pc:docMk/>
            <pc:sldMk cId="1082496383" sldId="257"/>
            <ac:spMk id="4" creationId="{9DFA7553-47CC-4F0D-82EF-804F97A4A83A}"/>
          </ac:spMkLst>
        </pc:spChg>
        <pc:spChg chg="add mod ord">
          <ac:chgData name="Joan Viladomiu Tora" userId="769a1043-f370-4a5b-a0e1-4e76db633912" providerId="ADAL" clId="{98FCD910-96B8-4FBD-B873-F7DFA452F248}" dt="2022-11-23T15:57:37.149" v="1643" actId="20577"/>
          <ac:spMkLst>
            <pc:docMk/>
            <pc:sldMk cId="1082496383" sldId="257"/>
            <ac:spMk id="6" creationId="{B08F3F55-E37B-462A-8811-AD30745088DC}"/>
          </ac:spMkLst>
        </pc:spChg>
        <pc:grpChg chg="mod">
          <ac:chgData name="Joan Viladomiu Tora" userId="769a1043-f370-4a5b-a0e1-4e76db633912" providerId="ADAL" clId="{98FCD910-96B8-4FBD-B873-F7DFA452F248}" dt="2022-11-23T15:44:02.701" v="139"/>
          <ac:grpSpMkLst>
            <pc:docMk/>
            <pc:sldMk cId="1082496383" sldId="257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98FCD910-96B8-4FBD-B873-F7DFA452F248}" dt="2022-11-23T15:49:32.334" v="1399"/>
          <ac:graphicFrameMkLst>
            <pc:docMk/>
            <pc:sldMk cId="1082496383" sldId="257"/>
            <ac:graphicFrameMk id="5" creationId="{031B39ED-941B-40A2-BB3C-B76D12F43DA7}"/>
          </ac:graphicFrameMkLst>
        </pc:graphicFrameChg>
      </pc:sldChg>
      <pc:sldChg chg="modSp add mod">
        <pc:chgData name="Joan Viladomiu Tora" userId="769a1043-f370-4a5b-a0e1-4e76db633912" providerId="ADAL" clId="{98FCD910-96B8-4FBD-B873-F7DFA452F248}" dt="2022-11-23T16:01:15.004" v="1646" actId="255"/>
        <pc:sldMkLst>
          <pc:docMk/>
          <pc:sldMk cId="1788761804" sldId="258"/>
        </pc:sldMkLst>
        <pc:spChg chg="mod">
          <ac:chgData name="Joan Viladomiu Tora" userId="769a1043-f370-4a5b-a0e1-4e76db633912" providerId="ADAL" clId="{98FCD910-96B8-4FBD-B873-F7DFA452F248}" dt="2022-11-23T15:54:47.641" v="1588" actId="948"/>
          <ac:spMkLst>
            <pc:docMk/>
            <pc:sldMk cId="1788761804" sldId="258"/>
            <ac:spMk id="4" creationId="{9DFA7553-47CC-4F0D-82EF-804F97A4A83A}"/>
          </ac:spMkLst>
        </pc:spChg>
        <pc:spChg chg="mod">
          <ac:chgData name="Joan Viladomiu Tora" userId="769a1043-f370-4a5b-a0e1-4e76db633912" providerId="ADAL" clId="{98FCD910-96B8-4FBD-B873-F7DFA452F248}" dt="2022-11-23T16:01:15.004" v="1646" actId="255"/>
          <ac:spMkLst>
            <pc:docMk/>
            <pc:sldMk cId="1788761804" sldId="258"/>
            <ac:spMk id="6" creationId="{B08F3F55-E37B-462A-8811-AD30745088DC}"/>
          </ac:spMkLst>
        </pc:spChg>
        <pc:grpChg chg="mod">
          <ac:chgData name="Joan Viladomiu Tora" userId="769a1043-f370-4a5b-a0e1-4e76db633912" providerId="ADAL" clId="{98FCD910-96B8-4FBD-B873-F7DFA452F248}" dt="2022-11-23T15:54:38.238" v="1574"/>
          <ac:grpSpMkLst>
            <pc:docMk/>
            <pc:sldMk cId="1788761804" sldId="258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98FCD910-96B8-4FBD-B873-F7DFA452F248}" dt="2022-11-23T15:54:47.651" v="1590"/>
          <ac:graphicFrameMkLst>
            <pc:docMk/>
            <pc:sldMk cId="1788761804" sldId="258"/>
            <ac:graphicFrameMk id="5" creationId="{031B39ED-941B-40A2-BB3C-B76D12F43DA7}"/>
          </ac:graphicFrameMkLst>
        </pc:graphicFrameChg>
      </pc:sldChg>
      <pc:sldMasterChg chg="addSp delSp modSp mod modSldLayout">
        <pc:chgData name="Joan Viladomiu Tora" userId="769a1043-f370-4a5b-a0e1-4e76db633912" providerId="ADAL" clId="{98FCD910-96B8-4FBD-B873-F7DFA452F248}" dt="2022-11-23T16:49:11.561" v="3510" actId="478"/>
        <pc:sldMasterMkLst>
          <pc:docMk/>
          <pc:sldMasterMk cId="688417701" sldId="2147483648"/>
        </pc:sldMasterMkLst>
        <pc:spChg chg="mod">
          <ac:chgData name="Joan Viladomiu Tora" userId="769a1043-f370-4a5b-a0e1-4e76db633912" providerId="ADAL" clId="{98FCD910-96B8-4FBD-B873-F7DFA452F248}" dt="2022-11-23T15:44:52.292" v="320" actId="948"/>
          <ac:spMkLst>
            <pc:docMk/>
            <pc:sldMasterMk cId="688417701" sldId="2147483648"/>
            <ac:spMk id="2" creationId="{59147989-CBEE-4B29-B326-1D113EE4E021}"/>
          </ac:spMkLst>
        </pc:spChg>
        <pc:spChg chg="mod">
          <ac:chgData name="Joan Viladomiu Tora" userId="769a1043-f370-4a5b-a0e1-4e76db633912" providerId="ADAL" clId="{98FCD910-96B8-4FBD-B873-F7DFA452F248}" dt="2022-11-23T15:45:36.901" v="369" actId="553"/>
          <ac:spMkLst>
            <pc:docMk/>
            <pc:sldMasterMk cId="688417701" sldId="2147483648"/>
            <ac:spMk id="3" creationId="{A2ECBB26-5B27-47BE-8EC5-5E41A1D090D3}"/>
          </ac:spMkLst>
        </pc:spChg>
        <pc:spChg chg="mod">
          <ac:chgData name="Joan Viladomiu Tora" userId="769a1043-f370-4a5b-a0e1-4e76db633912" providerId="ADAL" clId="{98FCD910-96B8-4FBD-B873-F7DFA452F248}" dt="2022-11-23T15:45:33.367" v="368" actId="552"/>
          <ac:spMkLst>
            <pc:docMk/>
            <pc:sldMasterMk cId="688417701" sldId="2147483648"/>
            <ac:spMk id="4" creationId="{4BC9B4AE-43D1-4AC0-8CA7-2269003EA362}"/>
          </ac:spMkLst>
        </pc:spChg>
        <pc:spChg chg="mod">
          <ac:chgData name="Joan Viladomiu Tora" userId="769a1043-f370-4a5b-a0e1-4e76db633912" providerId="ADAL" clId="{98FCD910-96B8-4FBD-B873-F7DFA452F248}" dt="2022-11-23T15:45:40.953" v="370" actId="12788"/>
          <ac:spMkLst>
            <pc:docMk/>
            <pc:sldMasterMk cId="688417701" sldId="2147483648"/>
            <ac:spMk id="5" creationId="{2F56C200-487D-42D2-B341-794F4F04460F}"/>
          </ac:spMkLst>
        </pc:spChg>
        <pc:spChg chg="mod">
          <ac:chgData name="Joan Viladomiu Tora" userId="769a1043-f370-4a5b-a0e1-4e76db633912" providerId="ADAL" clId="{98FCD910-96B8-4FBD-B873-F7DFA452F248}" dt="2022-11-23T15:45:36.901" v="369" actId="553"/>
          <ac:spMkLst>
            <pc:docMk/>
            <pc:sldMasterMk cId="688417701" sldId="2147483648"/>
            <ac:spMk id="6" creationId="{A54D6931-153E-453F-8DDD-FA9FC7949758}"/>
          </ac:spMkLst>
        </pc:spChg>
        <pc:spChg chg="add del mod modVis">
          <ac:chgData name="Joan Viladomiu Tora" userId="769a1043-f370-4a5b-a0e1-4e76db633912" providerId="ADAL" clId="{98FCD910-96B8-4FBD-B873-F7DFA452F248}" dt="2022-11-23T15:43:48.114" v="86"/>
          <ac:spMkLst>
            <pc:docMk/>
            <pc:sldMasterMk cId="688417701" sldId="2147483648"/>
            <ac:spMk id="7" creationId="{0824A7C4-3D87-44EE-B8F1-F146BA35F319}"/>
          </ac:spMkLst>
        </pc:spChg>
        <pc:spChg chg="add del mod modVis">
          <ac:chgData name="Joan Viladomiu Tora" userId="769a1043-f370-4a5b-a0e1-4e76db633912" providerId="ADAL" clId="{98FCD910-96B8-4FBD-B873-F7DFA452F248}" dt="2022-11-23T15:44:31.972" v="184"/>
          <ac:spMkLst>
            <pc:docMk/>
            <pc:sldMasterMk cId="688417701" sldId="2147483648"/>
            <ac:spMk id="9" creationId="{C4DCBA6B-D88B-424D-AA53-0BCE0EDED74C}"/>
          </ac:spMkLst>
        </pc:spChg>
        <pc:spChg chg="add del mod modVis">
          <ac:chgData name="Joan Viladomiu Tora" userId="769a1043-f370-4a5b-a0e1-4e76db633912" providerId="ADAL" clId="{98FCD910-96B8-4FBD-B873-F7DFA452F248}" dt="2022-11-23T15:44:37.666" v="227"/>
          <ac:spMkLst>
            <pc:docMk/>
            <pc:sldMasterMk cId="688417701" sldId="2147483648"/>
            <ac:spMk id="10" creationId="{31964CFB-D119-4A25-8C21-8A5F450C9A1B}"/>
          </ac:spMkLst>
        </pc:spChg>
        <pc:spChg chg="add del mod modVis">
          <ac:chgData name="Joan Viladomiu Tora" userId="769a1043-f370-4a5b-a0e1-4e76db633912" providerId="ADAL" clId="{98FCD910-96B8-4FBD-B873-F7DFA452F248}" dt="2022-11-23T15:44:42.895" v="270"/>
          <ac:spMkLst>
            <pc:docMk/>
            <pc:sldMasterMk cId="688417701" sldId="2147483648"/>
            <ac:spMk id="11" creationId="{3BF89312-6527-491D-AAEB-0B5DE9807FD7}"/>
          </ac:spMkLst>
        </pc:spChg>
        <pc:spChg chg="add del mod modVis">
          <ac:chgData name="Joan Viladomiu Tora" userId="769a1043-f370-4a5b-a0e1-4e76db633912" providerId="ADAL" clId="{98FCD910-96B8-4FBD-B873-F7DFA452F248}" dt="2022-11-23T15:44:49.455" v="316"/>
          <ac:spMkLst>
            <pc:docMk/>
            <pc:sldMasterMk cId="688417701" sldId="2147483648"/>
            <ac:spMk id="12" creationId="{668F7320-974A-4E36-90A5-70490AF96E9D}"/>
          </ac:spMkLst>
        </pc:spChg>
        <pc:spChg chg="add del mod modVis">
          <ac:chgData name="Joan Viladomiu Tora" userId="769a1043-f370-4a5b-a0e1-4e76db633912" providerId="ADAL" clId="{98FCD910-96B8-4FBD-B873-F7DFA452F248}" dt="2022-11-23T15:44:52.391" v="359"/>
          <ac:spMkLst>
            <pc:docMk/>
            <pc:sldMasterMk cId="688417701" sldId="2147483648"/>
            <ac:spMk id="13" creationId="{013257F9-E390-431F-AD7B-9CC634323A9D}"/>
          </ac:spMkLst>
        </pc:spChg>
        <pc:graphicFrameChg chg="add mod ord modVis">
          <ac:chgData name="Joan Viladomiu Tora" userId="769a1043-f370-4a5b-a0e1-4e76db633912" providerId="ADAL" clId="{98FCD910-96B8-4FBD-B873-F7DFA452F248}" dt="2022-11-23T15:44:52.397" v="361"/>
          <ac:graphicFrameMkLst>
            <pc:docMk/>
            <pc:sldMasterMk cId="688417701" sldId="2147483648"/>
            <ac:graphicFrameMk id="8" creationId="{AF995BC6-5574-4586-BD7A-42B12E5993FD}"/>
          </ac:graphicFrameMkLst>
        </pc:graphicFrameChg>
        <pc:picChg chg="add del mod">
          <ac:chgData name="Joan Viladomiu Tora" userId="769a1043-f370-4a5b-a0e1-4e76db633912" providerId="ADAL" clId="{98FCD910-96B8-4FBD-B873-F7DFA452F248}" dt="2022-11-23T16:35:15.227" v="1668" actId="21"/>
          <ac:picMkLst>
            <pc:docMk/>
            <pc:sldMasterMk cId="688417701" sldId="2147483648"/>
            <ac:picMk id="14" creationId="{AA06AC63-F540-437E-A026-C5B11E5C7024}"/>
          </ac:picMkLst>
        </pc:picChg>
        <pc:sldLayoutChg chg="addSp delSp modSp mod">
          <pc:chgData name="Joan Viladomiu Tora" userId="769a1043-f370-4a5b-a0e1-4e76db633912" providerId="ADAL" clId="{98FCD910-96B8-4FBD-B873-F7DFA452F248}" dt="2022-11-23T16:36:58.092" v="1720" actId="29295"/>
          <pc:sldLayoutMkLst>
            <pc:docMk/>
            <pc:sldMasterMk cId="688417701" sldId="2147483648"/>
            <pc:sldLayoutMk cId="2442174677" sldId="2147483649"/>
          </pc:sldLayoutMkLst>
          <pc:spChg chg="mod">
            <ac:chgData name="Joan Viladomiu Tora" userId="769a1043-f370-4a5b-a0e1-4e76db633912" providerId="ADAL" clId="{98FCD910-96B8-4FBD-B873-F7DFA452F248}" dt="2022-11-23T15:46:18.482" v="531" actId="948"/>
            <ac:spMkLst>
              <pc:docMk/>
              <pc:sldMasterMk cId="688417701" sldId="2147483648"/>
              <pc:sldLayoutMk cId="2442174677" sldId="2147483649"/>
              <ac:spMk id="2" creationId="{C81E7572-07E9-4488-85C3-452067ACA110}"/>
            </ac:spMkLst>
          </pc:spChg>
          <pc:spChg chg="mod">
            <ac:chgData name="Joan Viladomiu Tora" userId="769a1043-f370-4a5b-a0e1-4e76db633912" providerId="ADAL" clId="{98FCD910-96B8-4FBD-B873-F7DFA452F248}" dt="2022-11-23T15:46:07.338" v="473" actId="255"/>
            <ac:spMkLst>
              <pc:docMk/>
              <pc:sldMasterMk cId="688417701" sldId="2147483648"/>
              <pc:sldLayoutMk cId="2442174677" sldId="2147483649"/>
              <ac:spMk id="3" creationId="{B4AB51D9-A043-495A-9CD1-6FF4F820382B}"/>
            </ac:spMkLst>
          </pc:spChg>
          <pc:spChg chg="del">
            <ac:chgData name="Joan Viladomiu Tora" userId="769a1043-f370-4a5b-a0e1-4e76db633912" providerId="ADAL" clId="{98FCD910-96B8-4FBD-B873-F7DFA452F248}" dt="2022-11-23T15:45:56.772" v="472" actId="478"/>
            <ac:spMkLst>
              <pc:docMk/>
              <pc:sldMasterMk cId="688417701" sldId="2147483648"/>
              <pc:sldLayoutMk cId="2442174677" sldId="2147483649"/>
              <ac:spMk id="4" creationId="{C7225BC5-CDBC-43BA-AB54-CD6FFFCA6F64}"/>
            </ac:spMkLst>
          </pc:spChg>
          <pc:spChg chg="del">
            <ac:chgData name="Joan Viladomiu Tora" userId="769a1043-f370-4a5b-a0e1-4e76db633912" providerId="ADAL" clId="{98FCD910-96B8-4FBD-B873-F7DFA452F248}" dt="2022-11-23T15:45:56.772" v="472" actId="478"/>
            <ac:spMkLst>
              <pc:docMk/>
              <pc:sldMasterMk cId="688417701" sldId="2147483648"/>
              <pc:sldLayoutMk cId="2442174677" sldId="2147483649"/>
              <ac:spMk id="5" creationId="{D37F4C5B-60B5-4C6C-8467-ACDF998AD495}"/>
            </ac:spMkLst>
          </pc:spChg>
          <pc:spChg chg="del">
            <ac:chgData name="Joan Viladomiu Tora" userId="769a1043-f370-4a5b-a0e1-4e76db633912" providerId="ADAL" clId="{98FCD910-96B8-4FBD-B873-F7DFA452F248}" dt="2022-11-23T15:45:56.772" v="472" actId="478"/>
            <ac:spMkLst>
              <pc:docMk/>
              <pc:sldMasterMk cId="688417701" sldId="2147483648"/>
              <pc:sldLayoutMk cId="2442174677" sldId="2147483649"/>
              <ac:spMk id="6" creationId="{CCCC2631-9EEC-4F35-B780-4E050AF7DD5B}"/>
            </ac:spMkLst>
          </pc:spChg>
          <pc:spChg chg="add del mod modVis">
            <ac:chgData name="Joan Viladomiu Tora" userId="769a1043-f370-4a5b-a0e1-4e76db633912" providerId="ADAL" clId="{98FCD910-96B8-4FBD-B873-F7DFA452F248}" dt="2022-11-23T15:45:53.021" v="469" actId="962"/>
            <ac:spMkLst>
              <pc:docMk/>
              <pc:sldMasterMk cId="688417701" sldId="2147483648"/>
              <pc:sldLayoutMk cId="2442174677" sldId="2147483649"/>
              <ac:spMk id="7" creationId="{496D657E-1F1F-44FB-9A0D-FB0D699C9F56}"/>
            </ac:spMkLst>
          </pc:spChg>
          <pc:spChg chg="add del mod modVis">
            <ac:chgData name="Joan Viladomiu Tora" userId="769a1043-f370-4a5b-a0e1-4e76db633912" providerId="ADAL" clId="{98FCD910-96B8-4FBD-B873-F7DFA452F248}" dt="2022-11-23T15:46:14.203" v="514"/>
            <ac:spMkLst>
              <pc:docMk/>
              <pc:sldMasterMk cId="688417701" sldId="2147483648"/>
              <pc:sldLayoutMk cId="2442174677" sldId="2147483649"/>
              <ac:spMk id="9" creationId="{25CE665F-DD19-4371-9742-CD114CB60987}"/>
            </ac:spMkLst>
          </pc:spChg>
          <pc:spChg chg="add del mod modVis">
            <ac:chgData name="Joan Viladomiu Tora" userId="769a1043-f370-4a5b-a0e1-4e76db633912" providerId="ADAL" clId="{98FCD910-96B8-4FBD-B873-F7DFA452F248}" dt="2022-11-23T15:46:18.600" v="570"/>
            <ac:spMkLst>
              <pc:docMk/>
              <pc:sldMasterMk cId="688417701" sldId="2147483648"/>
              <pc:sldLayoutMk cId="2442174677" sldId="2147483649"/>
              <ac:spMk id="11" creationId="{90B452D1-A38E-4208-827D-5F84FBB360E2}"/>
            </ac:spMkLst>
          </pc:spChg>
          <pc:graphicFrameChg chg="add mod ord modVis">
            <ac:chgData name="Joan Viladomiu Tora" userId="769a1043-f370-4a5b-a0e1-4e76db633912" providerId="ADAL" clId="{98FCD910-96B8-4FBD-B873-F7DFA452F248}" dt="2022-11-23T15:45:52.973" v="433" actId="14100"/>
            <ac:graphicFrameMkLst>
              <pc:docMk/>
              <pc:sldMasterMk cId="688417701" sldId="2147483648"/>
              <pc:sldLayoutMk cId="2442174677" sldId="2147483649"/>
              <ac:graphicFrameMk id="8" creationId="{ACE72374-42A2-4CD6-BCCA-141A3C5696F9}"/>
            </ac:graphicFrameMkLst>
          </pc:graphicFrameChg>
          <pc:graphicFrameChg chg="add mod ord modVis">
            <ac:chgData name="Joan Viladomiu Tora" userId="769a1043-f370-4a5b-a0e1-4e76db633912" providerId="ADAL" clId="{98FCD910-96B8-4FBD-B873-F7DFA452F248}" dt="2022-11-23T15:46:18.605" v="572"/>
            <ac:graphicFrameMkLst>
              <pc:docMk/>
              <pc:sldMasterMk cId="688417701" sldId="2147483648"/>
              <pc:sldLayoutMk cId="2442174677" sldId="2147483649"/>
              <ac:graphicFrameMk id="10" creationId="{3DBBA04C-F090-4D50-8638-032155318AED}"/>
            </ac:graphicFrameMkLst>
          </pc:graphicFrameChg>
          <pc:picChg chg="add mod modCrop">
            <ac:chgData name="Joan Viladomiu Tora" userId="769a1043-f370-4a5b-a0e1-4e76db633912" providerId="ADAL" clId="{98FCD910-96B8-4FBD-B873-F7DFA452F248}" dt="2022-11-23T16:36:58.092" v="1720" actId="29295"/>
            <ac:picMkLst>
              <pc:docMk/>
              <pc:sldMasterMk cId="688417701" sldId="2147483648"/>
              <pc:sldLayoutMk cId="2442174677" sldId="2147483649"/>
              <ac:picMk id="13" creationId="{4CDCBF76-F30C-49D2-BDF7-351DE7988218}"/>
            </ac:picMkLst>
          </pc:picChg>
        </pc:sldLayoutChg>
        <pc:sldLayoutChg chg="addSp delSp modSp mod">
          <pc:chgData name="Joan Viladomiu Tora" userId="769a1043-f370-4a5b-a0e1-4e76db633912" providerId="ADAL" clId="{98FCD910-96B8-4FBD-B873-F7DFA452F248}" dt="2022-11-23T16:49:11.561" v="3510" actId="478"/>
          <pc:sldLayoutMkLst>
            <pc:docMk/>
            <pc:sldMasterMk cId="688417701" sldId="2147483648"/>
            <pc:sldLayoutMk cId="2685947012" sldId="2147483650"/>
          </pc:sldLayoutMkLst>
          <pc:spChg chg="mod">
            <ac:chgData name="Joan Viladomiu Tora" userId="769a1043-f370-4a5b-a0e1-4e76db633912" providerId="ADAL" clId="{98FCD910-96B8-4FBD-B873-F7DFA452F248}" dt="2022-11-23T16:45:57.844" v="2875" actId="948"/>
            <ac:spMkLst>
              <pc:docMk/>
              <pc:sldMasterMk cId="688417701" sldId="2147483648"/>
              <pc:sldLayoutMk cId="2685947012" sldId="2147483650"/>
              <ac:spMk id="2" creationId="{A5409377-C078-43AA-A360-AABDE9C1E596}"/>
            </ac:spMkLst>
          </pc:spChg>
          <pc:spChg chg="add del mod modVis">
            <ac:chgData name="Joan Viladomiu Tora" userId="769a1043-f370-4a5b-a0e1-4e76db633912" providerId="ADAL" clId="{98FCD910-96B8-4FBD-B873-F7DFA452F248}" dt="2022-11-23T16:45:54.736" v="2858"/>
            <ac:spMkLst>
              <pc:docMk/>
              <pc:sldMasterMk cId="688417701" sldId="2147483648"/>
              <pc:sldLayoutMk cId="2685947012" sldId="2147483650"/>
              <ac:spMk id="14" creationId="{54387125-B26C-494E-A404-0A2215B4D51C}"/>
            </ac:spMkLst>
          </pc:spChg>
          <pc:spChg chg="add del mod modVis">
            <ac:chgData name="Joan Viladomiu Tora" userId="769a1043-f370-4a5b-a0e1-4e76db633912" providerId="ADAL" clId="{98FCD910-96B8-4FBD-B873-F7DFA452F248}" dt="2022-11-23T16:45:57.905" v="2914"/>
            <ac:spMkLst>
              <pc:docMk/>
              <pc:sldMasterMk cId="688417701" sldId="2147483648"/>
              <pc:sldLayoutMk cId="2685947012" sldId="2147483650"/>
              <ac:spMk id="16" creationId="{CF8889E9-FF54-495B-B94E-239598DE7201}"/>
            </ac:spMkLst>
          </pc:spChg>
          <pc:graphicFrameChg chg="add mod ord modVis">
            <ac:chgData name="Joan Viladomiu Tora" userId="769a1043-f370-4a5b-a0e1-4e76db633912" providerId="ADAL" clId="{98FCD910-96B8-4FBD-B873-F7DFA452F248}" dt="2022-11-23T16:45:57.908" v="2916"/>
            <ac:graphicFrameMkLst>
              <pc:docMk/>
              <pc:sldMasterMk cId="688417701" sldId="2147483648"/>
              <pc:sldLayoutMk cId="2685947012" sldId="2147483650"/>
              <ac:graphicFrameMk id="15" creationId="{B8E6F6C3-BC68-47A3-BCCD-7B4DD3F91540}"/>
            </ac:graphicFrameMkLst>
          </pc:graphicFrameChg>
          <pc:picChg chg="add del mod">
            <ac:chgData name="Joan Viladomiu Tora" userId="769a1043-f370-4a5b-a0e1-4e76db633912" providerId="ADAL" clId="{98FCD910-96B8-4FBD-B873-F7DFA452F248}" dt="2022-11-23T16:35:08.984" v="1666" actId="21"/>
            <ac:picMkLst>
              <pc:docMk/>
              <pc:sldMasterMk cId="688417701" sldId="2147483648"/>
              <pc:sldLayoutMk cId="2685947012" sldId="2147483650"/>
              <ac:picMk id="8" creationId="{7CA2E185-57B0-45A9-84A3-D468ACBF49BD}"/>
            </ac:picMkLst>
          </pc:picChg>
          <pc:picChg chg="add del mod modCrop">
            <ac:chgData name="Joan Viladomiu Tora" userId="769a1043-f370-4a5b-a0e1-4e76db633912" providerId="ADAL" clId="{98FCD910-96B8-4FBD-B873-F7DFA452F248}" dt="2022-11-23T16:48:43.923" v="3506" actId="478"/>
            <ac:picMkLst>
              <pc:docMk/>
              <pc:sldMasterMk cId="688417701" sldId="2147483648"/>
              <pc:sldLayoutMk cId="2685947012" sldId="2147483650"/>
              <ac:picMk id="9" creationId="{F9E6D7D3-53CA-494B-BA3A-FA336F5D1BA2}"/>
            </ac:picMkLst>
          </pc:picChg>
          <pc:picChg chg="add del mod modCrop">
            <ac:chgData name="Joan Viladomiu Tora" userId="769a1043-f370-4a5b-a0e1-4e76db633912" providerId="ADAL" clId="{98FCD910-96B8-4FBD-B873-F7DFA452F248}" dt="2022-11-23T16:45:43.712" v="2817" actId="478"/>
            <ac:picMkLst>
              <pc:docMk/>
              <pc:sldMasterMk cId="688417701" sldId="2147483648"/>
              <pc:sldLayoutMk cId="2685947012" sldId="2147483650"/>
              <ac:picMk id="10" creationId="{7D25F2ED-8834-4960-9D32-ACFC2D5E6166}"/>
            </ac:picMkLst>
          </pc:picChg>
          <pc:picChg chg="add mod">
            <ac:chgData name="Joan Viladomiu Tora" userId="769a1043-f370-4a5b-a0e1-4e76db633912" providerId="ADAL" clId="{98FCD910-96B8-4FBD-B873-F7DFA452F248}" dt="2022-11-23T16:40:39.158" v="1945" actId="1076"/>
            <ac:picMkLst>
              <pc:docMk/>
              <pc:sldMasterMk cId="688417701" sldId="2147483648"/>
              <pc:sldLayoutMk cId="2685947012" sldId="2147483650"/>
              <ac:picMk id="11" creationId="{42D48E56-6DDD-4DF7-88FE-F5D0EF076442}"/>
            </ac:picMkLst>
          </pc:picChg>
          <pc:cxnChg chg="add mod">
            <ac:chgData name="Joan Viladomiu Tora" userId="769a1043-f370-4a5b-a0e1-4e76db633912" providerId="ADAL" clId="{98FCD910-96B8-4FBD-B873-F7DFA452F248}" dt="2022-11-23T16:41:27.294" v="1948" actId="208"/>
            <ac:cxnSpMkLst>
              <pc:docMk/>
              <pc:sldMasterMk cId="688417701" sldId="2147483648"/>
              <pc:sldLayoutMk cId="2685947012" sldId="2147483650"/>
              <ac:cxnSpMk id="13" creationId="{4E840B4E-8D88-47B5-B7C7-DA0D7204C5B4}"/>
            </ac:cxnSpMkLst>
          </pc:cxnChg>
          <pc:cxnChg chg="add del mod">
            <ac:chgData name="Joan Viladomiu Tora" userId="769a1043-f370-4a5b-a0e1-4e76db633912" providerId="ADAL" clId="{98FCD910-96B8-4FBD-B873-F7DFA452F248}" dt="2022-11-23T16:49:11.561" v="3510" actId="478"/>
            <ac:cxnSpMkLst>
              <pc:docMk/>
              <pc:sldMasterMk cId="688417701" sldId="2147483648"/>
              <pc:sldLayoutMk cId="2685947012" sldId="2147483650"/>
              <ac:cxnSpMk id="17" creationId="{F23250BD-7A14-4763-96D2-43C7175D58AC}"/>
            </ac:cxnSpMkLst>
          </pc:cxnChg>
        </pc:sldLayoutChg>
      </pc:sldMasterChg>
    </pc:docChg>
  </pc:docChgLst>
  <pc:docChgLst>
    <pc:chgData name="Enric Mus Catala" userId="d65d4634-8e16-47e9-87ba-a549cc891999" providerId="ADAL" clId="{583CEA4F-D930-406D-8F4D-AEC51A1E6070}"/>
    <pc:docChg chg="undo custSel addSld delSld modSld sldOrd addSection modSection replTag">
      <pc:chgData name="Enric Mus Catala" userId="d65d4634-8e16-47e9-87ba-a549cc891999" providerId="ADAL" clId="{583CEA4F-D930-406D-8F4D-AEC51A1E6070}" dt="2022-11-24T16:18:42.811" v="5029" actId="2696"/>
      <pc:docMkLst>
        <pc:docMk/>
      </pc:docMkLst>
      <pc:sldChg chg="addSp delSp modSp mod">
        <pc:chgData name="Enric Mus Catala" userId="d65d4634-8e16-47e9-87ba-a549cc891999" providerId="ADAL" clId="{583CEA4F-D930-406D-8F4D-AEC51A1E6070}" dt="2022-11-23T18:30:33.159" v="2232" actId="20577"/>
        <pc:sldMkLst>
          <pc:docMk/>
          <pc:sldMk cId="2838035828" sldId="256"/>
        </pc:sldMkLst>
        <pc:spChg chg="mod">
          <ac:chgData name="Enric Mus Catala" userId="d65d4634-8e16-47e9-87ba-a549cc891999" providerId="ADAL" clId="{583CEA4F-D930-406D-8F4D-AEC51A1E6070}" dt="2022-11-23T18:30:08.671" v="2156" actId="948"/>
          <ac:spMkLst>
            <pc:docMk/>
            <pc:sldMk cId="2838035828" sldId="256"/>
            <ac:spMk id="2" creationId="{F5BEA453-86B2-4D6B-8F50-1355083F9C6F}"/>
          </ac:spMkLst>
        </pc:spChg>
        <pc:spChg chg="mod">
          <ac:chgData name="Enric Mus Catala" userId="d65d4634-8e16-47e9-87ba-a549cc891999" providerId="ADAL" clId="{583CEA4F-D930-406D-8F4D-AEC51A1E6070}" dt="2022-11-23T18:30:33.159" v="2232" actId="20577"/>
          <ac:spMkLst>
            <pc:docMk/>
            <pc:sldMk cId="2838035828" sldId="256"/>
            <ac:spMk id="3" creationId="{53C366B4-FEF8-42A4-9EB9-64A743FF12B5}"/>
          </ac:spMkLst>
        </pc:spChg>
        <pc:spChg chg="add del mod modVis">
          <ac:chgData name="Enric Mus Catala" userId="d65d4634-8e16-47e9-87ba-a549cc891999" providerId="ADAL" clId="{583CEA4F-D930-406D-8F4D-AEC51A1E6070}" dt="2022-11-23T18:29:01.065" v="2024"/>
          <ac:spMkLst>
            <pc:docMk/>
            <pc:sldMk cId="2838035828" sldId="256"/>
            <ac:spMk id="6" creationId="{D71FD71F-FB4A-4D66-B740-7E054C963C22}"/>
          </ac:spMkLst>
        </pc:spChg>
        <pc:spChg chg="add del mod modVis">
          <ac:chgData name="Enric Mus Catala" userId="d65d4634-8e16-47e9-87ba-a549cc891999" providerId="ADAL" clId="{583CEA4F-D930-406D-8F4D-AEC51A1E6070}" dt="2022-11-23T18:29:04.684" v="2083"/>
          <ac:spMkLst>
            <pc:docMk/>
            <pc:sldMk cId="2838035828" sldId="256"/>
            <ac:spMk id="7" creationId="{8D47798D-95CD-4204-BD5B-19EEB964C915}"/>
          </ac:spMkLst>
        </pc:spChg>
        <pc:spChg chg="add del mod modVis">
          <ac:chgData name="Enric Mus Catala" userId="d65d4634-8e16-47e9-87ba-a549cc891999" providerId="ADAL" clId="{583CEA4F-D930-406D-8F4D-AEC51A1E6070}" dt="2022-11-23T18:30:06.502" v="2152"/>
          <ac:spMkLst>
            <pc:docMk/>
            <pc:sldMk cId="2838035828" sldId="256"/>
            <ac:spMk id="8" creationId="{1791297D-38E6-4B02-89DB-0D1FF3B8279E}"/>
          </ac:spMkLst>
        </pc:spChg>
        <pc:spChg chg="add del mod modVis">
          <ac:chgData name="Enric Mus Catala" userId="d65d4634-8e16-47e9-87ba-a549cc891999" providerId="ADAL" clId="{583CEA4F-D930-406D-8F4D-AEC51A1E6070}" dt="2022-11-23T18:30:08.715" v="2226"/>
          <ac:spMkLst>
            <pc:docMk/>
            <pc:sldMk cId="2838035828" sldId="256"/>
            <ac:spMk id="9" creationId="{F73B86A9-A652-41E8-AC7E-BC6F4980AE55}"/>
          </ac:spMkLst>
        </pc:spChg>
        <pc:graphicFrameChg chg="mod">
          <ac:chgData name="Enric Mus Catala" userId="d65d4634-8e16-47e9-87ba-a549cc891999" providerId="ADAL" clId="{583CEA4F-D930-406D-8F4D-AEC51A1E6070}" dt="2022-11-23T18:30:08.718" v="2228"/>
          <ac:graphicFrameMkLst>
            <pc:docMk/>
            <pc:sldMk cId="2838035828" sldId="256"/>
            <ac:graphicFrameMk id="5" creationId="{031B39ED-941B-40A2-BB3C-B76D12F43DA7}"/>
          </ac:graphicFrameMkLst>
        </pc:graphicFrameChg>
      </pc:sldChg>
      <pc:sldChg chg="addSp modSp mod">
        <pc:chgData name="Enric Mus Catala" userId="d65d4634-8e16-47e9-87ba-a549cc891999" providerId="ADAL" clId="{583CEA4F-D930-406D-8F4D-AEC51A1E6070}" dt="2022-11-24T15:55:06.007" v="4874" actId="20577"/>
        <pc:sldMkLst>
          <pc:docMk/>
          <pc:sldMk cId="1082496383" sldId="257"/>
        </pc:sldMkLst>
        <pc:spChg chg="add mod">
          <ac:chgData name="Enric Mus Catala" userId="d65d4634-8e16-47e9-87ba-a549cc891999" providerId="ADAL" clId="{583CEA4F-D930-406D-8F4D-AEC51A1E6070}" dt="2022-11-23T17:04:54.641" v="1" actId="1076"/>
          <ac:spMkLst>
            <pc:docMk/>
            <pc:sldMk cId="1082496383" sldId="257"/>
            <ac:spMk id="7" creationId="{1AF8211D-4753-47C0-9939-B16D77886184}"/>
          </ac:spMkLst>
        </pc:spChg>
        <pc:spChg chg="mod">
          <ac:chgData name="Enric Mus Catala" userId="d65d4634-8e16-47e9-87ba-a549cc891999" providerId="ADAL" clId="{583CEA4F-D930-406D-8F4D-AEC51A1E6070}" dt="2022-11-23T17:23:34.312" v="281" actId="20577"/>
          <ac:spMkLst>
            <pc:docMk/>
            <pc:sldMk cId="1082496383" sldId="257"/>
            <ac:spMk id="8" creationId="{137EF13C-F1EB-47D6-8730-69864CFF1594}"/>
          </ac:spMkLst>
        </pc:spChg>
        <pc:spChg chg="mod">
          <ac:chgData name="Enric Mus Catala" userId="d65d4634-8e16-47e9-87ba-a549cc891999" providerId="ADAL" clId="{583CEA4F-D930-406D-8F4D-AEC51A1E6070}" dt="2022-11-24T15:55:06.007" v="4874" actId="20577"/>
          <ac:spMkLst>
            <pc:docMk/>
            <pc:sldMk cId="1082496383" sldId="257"/>
            <ac:spMk id="63" creationId="{F333CD3B-AD14-421D-A684-42F79C3C22E5}"/>
          </ac:spMkLst>
        </pc:spChg>
      </pc:sldChg>
      <pc:sldChg chg="addSp delSp modSp new add mod setBg">
        <pc:chgData name="Enric Mus Catala" userId="d65d4634-8e16-47e9-87ba-a549cc891999" providerId="ADAL" clId="{583CEA4F-D930-406D-8F4D-AEC51A1E6070}" dt="2022-11-23T17:12:45.818" v="100" actId="12788"/>
        <pc:sldMkLst>
          <pc:docMk/>
          <pc:sldMk cId="1859713494" sldId="259"/>
        </pc:sldMkLst>
        <pc:spChg chg="add del mod ord">
          <ac:chgData name="Enric Mus Catala" userId="d65d4634-8e16-47e9-87ba-a549cc891999" providerId="ADAL" clId="{583CEA4F-D930-406D-8F4D-AEC51A1E6070}" dt="2022-11-23T17:12:35.761" v="94" actId="478"/>
          <ac:spMkLst>
            <pc:docMk/>
            <pc:sldMk cId="1859713494" sldId="259"/>
            <ac:spMk id="2" creationId="{0774EC83-6832-4F1F-9A19-5C6FD3286940}"/>
          </ac:spMkLst>
        </pc:spChg>
        <pc:spChg chg="del">
          <ac:chgData name="Enric Mus Catala" userId="d65d4634-8e16-47e9-87ba-a549cc891999" providerId="ADAL" clId="{583CEA4F-D930-406D-8F4D-AEC51A1E6070}" dt="2022-11-23T17:08:36.656" v="32" actId="478"/>
          <ac:spMkLst>
            <pc:docMk/>
            <pc:sldMk cId="1859713494" sldId="259"/>
            <ac:spMk id="3" creationId="{F56E7925-EB6A-4BFB-B4C8-22CA57667F1A}"/>
          </ac:spMkLst>
        </pc:spChg>
        <pc:spChg chg="add mod ord">
          <ac:chgData name="Enric Mus Catala" userId="d65d4634-8e16-47e9-87ba-a549cc891999" providerId="ADAL" clId="{583CEA4F-D930-406D-8F4D-AEC51A1E6070}" dt="2022-11-23T17:12:45.818" v="100" actId="12788"/>
          <ac:spMkLst>
            <pc:docMk/>
            <pc:sldMk cId="1859713494" sldId="259"/>
            <ac:spMk id="5" creationId="{76BF6593-7738-402C-B54A-602C4056F720}"/>
          </ac:spMkLst>
        </pc:spChg>
        <pc:spChg chg="add mod">
          <ac:chgData name="Enric Mus Catala" userId="d65d4634-8e16-47e9-87ba-a549cc891999" providerId="ADAL" clId="{583CEA4F-D930-406D-8F4D-AEC51A1E6070}" dt="2022-11-23T17:12:45.818" v="100" actId="12788"/>
          <ac:spMkLst>
            <pc:docMk/>
            <pc:sldMk cId="1859713494" sldId="259"/>
            <ac:spMk id="7" creationId="{694B0D0D-B118-4584-B013-58D9315D59AC}"/>
          </ac:spMkLst>
        </pc:spChg>
        <pc:spChg chg="add mod">
          <ac:chgData name="Enric Mus Catala" userId="d65d4634-8e16-47e9-87ba-a549cc891999" providerId="ADAL" clId="{583CEA4F-D930-406D-8F4D-AEC51A1E6070}" dt="2022-11-23T17:12:31.930" v="93" actId="122"/>
          <ac:spMkLst>
            <pc:docMk/>
            <pc:sldMk cId="1859713494" sldId="259"/>
            <ac:spMk id="8" creationId="{0E320AD5-09D6-4824-B4CB-6779500335CF}"/>
          </ac:spMkLst>
        </pc:spChg>
        <pc:graphicFrameChg chg="add mod ord modVis replST delST">
          <ac:chgData name="Enric Mus Catala" userId="d65d4634-8e16-47e9-87ba-a549cc891999" providerId="ADAL" clId="{583CEA4F-D930-406D-8F4D-AEC51A1E6070}" dt="2022-11-23T17:08:28.584" v="29" actId="14100"/>
          <ac:graphicFrameMkLst>
            <pc:docMk/>
            <pc:sldMk cId="1859713494" sldId="259"/>
            <ac:graphicFrameMk id="4" creationId="{B7A0A3DD-AA0E-403A-AADE-F3538ADA6ABD}"/>
          </ac:graphicFrameMkLst>
        </pc:graphicFrameChg>
        <pc:graphicFrameChg chg="add mod ord modVis replST">
          <ac:chgData name="Enric Mus Catala" userId="d65d4634-8e16-47e9-87ba-a549cc891999" providerId="ADAL" clId="{583CEA4F-D930-406D-8F4D-AEC51A1E6070}" dt="2022-11-23T17:12:36.257" v="97"/>
          <ac:graphicFrameMkLst>
            <pc:docMk/>
            <pc:sldMk cId="1859713494" sldId="259"/>
            <ac:graphicFrameMk id="6" creationId="{8E4DB42F-4630-49B3-9DC9-377BB0073649}"/>
          </ac:graphicFrameMkLst>
        </pc:graphicFrameChg>
      </pc:sldChg>
      <pc:sldChg chg="delSp modSp mod">
        <pc:chgData name="Enric Mus Catala" userId="d65d4634-8e16-47e9-87ba-a549cc891999" providerId="ADAL" clId="{583CEA4F-D930-406D-8F4D-AEC51A1E6070}" dt="2022-11-23T17:13:21.718" v="104"/>
        <pc:sldMkLst>
          <pc:docMk/>
          <pc:sldMk cId="2722210674" sldId="260"/>
        </pc:sldMkLst>
        <pc:spChg chg="del">
          <ac:chgData name="Enric Mus Catala" userId="d65d4634-8e16-47e9-87ba-a549cc891999" providerId="ADAL" clId="{583CEA4F-D930-406D-8F4D-AEC51A1E6070}" dt="2022-11-23T17:13:21.204" v="101" actId="478"/>
          <ac:spMkLst>
            <pc:docMk/>
            <pc:sldMk cId="2722210674" sldId="260"/>
            <ac:spMk id="4" creationId="{9DFA7553-47CC-4F0D-82EF-804F97A4A83A}"/>
          </ac:spMkLst>
        </pc:spChg>
        <pc:graphicFrameChg chg="mod">
          <ac:chgData name="Enric Mus Catala" userId="d65d4634-8e16-47e9-87ba-a549cc891999" providerId="ADAL" clId="{583CEA4F-D930-406D-8F4D-AEC51A1E6070}" dt="2022-11-23T17:13:21.718" v="104"/>
          <ac:graphicFrameMkLst>
            <pc:docMk/>
            <pc:sldMk cId="2722210674" sldId="260"/>
            <ac:graphicFrameMk id="5" creationId="{031B39ED-941B-40A2-BB3C-B76D12F43DA7}"/>
          </ac:graphicFrameMkLst>
        </pc:graphicFrameChg>
      </pc:sldChg>
      <pc:sldChg chg="add del">
        <pc:chgData name="Enric Mus Catala" userId="d65d4634-8e16-47e9-87ba-a549cc891999" providerId="ADAL" clId="{583CEA4F-D930-406D-8F4D-AEC51A1E6070}" dt="2022-11-23T17:13:31.817" v="106" actId="47"/>
        <pc:sldMkLst>
          <pc:docMk/>
          <pc:sldMk cId="1350777739" sldId="261"/>
        </pc:sldMkLst>
      </pc:sldChg>
      <pc:sldChg chg="addSp modSp new add mod">
        <pc:chgData name="Enric Mus Catala" userId="d65d4634-8e16-47e9-87ba-a549cc891999" providerId="ADAL" clId="{583CEA4F-D930-406D-8F4D-AEC51A1E6070}" dt="2022-11-24T15:55:55.872" v="5011"/>
        <pc:sldMkLst>
          <pc:docMk/>
          <pc:sldMk cId="1605097661" sldId="261"/>
        </pc:sldMkLst>
        <pc:spChg chg="mod">
          <ac:chgData name="Enric Mus Catala" userId="d65d4634-8e16-47e9-87ba-a549cc891999" providerId="ADAL" clId="{583CEA4F-D930-406D-8F4D-AEC51A1E6070}" dt="2022-11-24T15:55:55.867" v="5008" actId="948"/>
          <ac:spMkLst>
            <pc:docMk/>
            <pc:sldMk cId="1605097661" sldId="261"/>
            <ac:spMk id="2" creationId="{6D20B3CF-A5C7-45DB-9513-5AB9F3BD2AA4}"/>
          </ac:spMkLst>
        </pc:spChg>
        <pc:spChg chg="add mod">
          <ac:chgData name="Enric Mus Catala" userId="d65d4634-8e16-47e9-87ba-a549cc891999" providerId="ADAL" clId="{583CEA4F-D930-406D-8F4D-AEC51A1E6070}" dt="2022-11-23T17:17:49.551" v="211" actId="20577"/>
          <ac:spMkLst>
            <pc:docMk/>
            <pc:sldMk cId="1605097661" sldId="261"/>
            <ac:spMk id="4" creationId="{F84F22B1-1CFE-4835-A8B7-4E4FB44706E4}"/>
          </ac:spMkLst>
        </pc:spChg>
        <pc:graphicFrameChg chg="add mod ord modVis replST">
          <ac:chgData name="Enric Mus Catala" userId="d65d4634-8e16-47e9-87ba-a549cc891999" providerId="ADAL" clId="{583CEA4F-D930-406D-8F4D-AEC51A1E6070}" dt="2022-11-24T15:55:55.872" v="5011"/>
          <ac:graphicFrameMkLst>
            <pc:docMk/>
            <pc:sldMk cId="1605097661" sldId="261"/>
            <ac:graphicFrameMk id="3" creationId="{E82D60BF-D2CB-46ED-AF4D-D588879D5FF3}"/>
          </ac:graphicFrameMkLst>
        </pc:graphicFrameChg>
      </pc:sldChg>
      <pc:sldChg chg="modSp mod">
        <pc:chgData name="Enric Mus Catala" userId="d65d4634-8e16-47e9-87ba-a549cc891999" providerId="ADAL" clId="{583CEA4F-D930-406D-8F4D-AEC51A1E6070}" dt="2022-11-24T15:56:02.310" v="5028"/>
        <pc:sldMkLst>
          <pc:docMk/>
          <pc:sldMk cId="2762255842" sldId="262"/>
        </pc:sldMkLst>
        <pc:spChg chg="mod">
          <ac:chgData name="Enric Mus Catala" userId="d65d4634-8e16-47e9-87ba-a549cc891999" providerId="ADAL" clId="{583CEA4F-D930-406D-8F4D-AEC51A1E6070}" dt="2022-11-24T15:56:02.301" v="5025" actId="948"/>
          <ac:spMkLst>
            <pc:docMk/>
            <pc:sldMk cId="2762255842" sldId="262"/>
            <ac:spMk id="2" creationId="{6D20B3CF-A5C7-45DB-9513-5AB9F3BD2AA4}"/>
          </ac:spMkLst>
        </pc:spChg>
        <pc:graphicFrameChg chg="mod">
          <ac:chgData name="Enric Mus Catala" userId="d65d4634-8e16-47e9-87ba-a549cc891999" providerId="ADAL" clId="{583CEA4F-D930-406D-8F4D-AEC51A1E6070}" dt="2022-11-24T15:56:02.310" v="5028"/>
          <ac:graphicFrameMkLst>
            <pc:docMk/>
            <pc:sldMk cId="2762255842" sldId="262"/>
            <ac:graphicFrameMk id="3" creationId="{E82D60BF-D2CB-46ED-AF4D-D588879D5FF3}"/>
          </ac:graphicFrameMkLst>
        </pc:graphicFrameChg>
      </pc:sldChg>
      <pc:sldChg chg="addSp delSp modSp mod">
        <pc:chgData name="Enric Mus Catala" userId="d65d4634-8e16-47e9-87ba-a549cc891999" providerId="ADAL" clId="{583CEA4F-D930-406D-8F4D-AEC51A1E6070}" dt="2022-11-23T18:36:16.941" v="2238" actId="1076"/>
        <pc:sldMkLst>
          <pc:docMk/>
          <pc:sldMk cId="3069269" sldId="263"/>
        </pc:sldMkLst>
        <pc:spChg chg="mod">
          <ac:chgData name="Enric Mus Catala" userId="d65d4634-8e16-47e9-87ba-a549cc891999" providerId="ADAL" clId="{583CEA4F-D930-406D-8F4D-AEC51A1E6070}" dt="2022-11-23T17:30:41.916" v="379" actId="948"/>
          <ac:spMkLst>
            <pc:docMk/>
            <pc:sldMk cId="3069269" sldId="263"/>
            <ac:spMk id="2" creationId="{6D20B3CF-A5C7-45DB-9513-5AB9F3BD2AA4}"/>
          </ac:spMkLst>
        </pc:spChg>
        <pc:spChg chg="mod">
          <ac:chgData name="Enric Mus Catala" userId="d65d4634-8e16-47e9-87ba-a549cc891999" providerId="ADAL" clId="{583CEA4F-D930-406D-8F4D-AEC51A1E6070}" dt="2022-11-23T18:36:16.941" v="2238" actId="1076"/>
          <ac:spMkLst>
            <pc:docMk/>
            <pc:sldMk cId="3069269" sldId="263"/>
            <ac:spMk id="4" creationId="{F84F22B1-1CFE-4835-A8B7-4E4FB44706E4}"/>
          </ac:spMkLst>
        </pc:spChg>
        <pc:spChg chg="add del mod modVis">
          <ac:chgData name="Enric Mus Catala" userId="d65d4634-8e16-47e9-87ba-a549cc891999" providerId="ADAL" clId="{583CEA4F-D930-406D-8F4D-AEC51A1E6070}" dt="2022-11-23T17:30:38.834" v="375"/>
          <ac:spMkLst>
            <pc:docMk/>
            <pc:sldMk cId="3069269" sldId="263"/>
            <ac:spMk id="5" creationId="{918DFC51-A896-48BB-B70A-FFF39A500582}"/>
          </ac:spMkLst>
        </pc:spChg>
        <pc:spChg chg="add del mod modVis">
          <ac:chgData name="Enric Mus Catala" userId="d65d4634-8e16-47e9-87ba-a549cc891999" providerId="ADAL" clId="{583CEA4F-D930-406D-8F4D-AEC51A1E6070}" dt="2022-11-23T17:30:41.943" v="419"/>
          <ac:spMkLst>
            <pc:docMk/>
            <pc:sldMk cId="3069269" sldId="263"/>
            <ac:spMk id="6" creationId="{873D4000-6F4A-4394-B017-6FDA8401753B}"/>
          </ac:spMkLst>
        </pc:spChg>
        <pc:graphicFrameChg chg="mod">
          <ac:chgData name="Enric Mus Catala" userId="d65d4634-8e16-47e9-87ba-a549cc891999" providerId="ADAL" clId="{583CEA4F-D930-406D-8F4D-AEC51A1E6070}" dt="2022-11-23T17:30:41.945" v="421"/>
          <ac:graphicFrameMkLst>
            <pc:docMk/>
            <pc:sldMk cId="3069269" sldId="263"/>
            <ac:graphicFrameMk id="3" creationId="{E82D60BF-D2CB-46ED-AF4D-D588879D5FF3}"/>
          </ac:graphicFrameMkLst>
        </pc:graphicFrameChg>
      </pc:sldChg>
      <pc:sldChg chg="modSp mod">
        <pc:chgData name="Enric Mus Catala" userId="d65d4634-8e16-47e9-87ba-a549cc891999" providerId="ADAL" clId="{583CEA4F-D930-406D-8F4D-AEC51A1E6070}" dt="2022-11-24T15:55:40.891" v="4975"/>
        <pc:sldMkLst>
          <pc:docMk/>
          <pc:sldMk cId="801117589" sldId="264"/>
        </pc:sldMkLst>
        <pc:spChg chg="mod">
          <ac:chgData name="Enric Mus Catala" userId="d65d4634-8e16-47e9-87ba-a549cc891999" providerId="ADAL" clId="{583CEA4F-D930-406D-8F4D-AEC51A1E6070}" dt="2022-11-24T15:55:40.884" v="4972" actId="948"/>
          <ac:spMkLst>
            <pc:docMk/>
            <pc:sldMk cId="801117589" sldId="264"/>
            <ac:spMk id="2" creationId="{6D20B3CF-A5C7-45DB-9513-5AB9F3BD2AA4}"/>
          </ac:spMkLst>
        </pc:spChg>
        <pc:graphicFrameChg chg="mod">
          <ac:chgData name="Enric Mus Catala" userId="d65d4634-8e16-47e9-87ba-a549cc891999" providerId="ADAL" clId="{583CEA4F-D930-406D-8F4D-AEC51A1E6070}" dt="2022-11-24T15:55:40.891" v="4975"/>
          <ac:graphicFrameMkLst>
            <pc:docMk/>
            <pc:sldMk cId="801117589" sldId="264"/>
            <ac:graphicFrameMk id="3" creationId="{E82D60BF-D2CB-46ED-AF4D-D588879D5FF3}"/>
          </ac:graphicFrameMkLst>
        </pc:graphicFrameChg>
      </pc:sldChg>
      <pc:sldChg chg="addSp delSp modSp new add mod">
        <pc:chgData name="Enric Mus Catala" userId="d65d4634-8e16-47e9-87ba-a549cc891999" providerId="ADAL" clId="{583CEA4F-D930-406D-8F4D-AEC51A1E6070}" dt="2022-11-24T15:02:21.211" v="4729" actId="14100"/>
        <pc:sldMkLst>
          <pc:docMk/>
          <pc:sldMk cId="650411948" sldId="265"/>
        </pc:sldMkLst>
        <pc:spChg chg="mod ord">
          <ac:chgData name="Enric Mus Catala" userId="d65d4634-8e16-47e9-87ba-a549cc891999" providerId="ADAL" clId="{583CEA4F-D930-406D-8F4D-AEC51A1E6070}" dt="2022-11-23T17:56:11.972" v="1089"/>
          <ac:spMkLst>
            <pc:docMk/>
            <pc:sldMk cId="650411948" sldId="265"/>
            <ac:spMk id="2" creationId="{9AB591CE-E7CD-4793-B511-01EEF4704C68}"/>
          </ac:spMkLst>
        </pc:spChg>
        <pc:spChg chg="del">
          <ac:chgData name="Enric Mus Catala" userId="d65d4634-8e16-47e9-87ba-a549cc891999" providerId="ADAL" clId="{583CEA4F-D930-406D-8F4D-AEC51A1E6070}" dt="2022-11-23T17:32:29.384" v="438" actId="478"/>
          <ac:spMkLst>
            <pc:docMk/>
            <pc:sldMk cId="650411948" sldId="265"/>
            <ac:spMk id="3" creationId="{3AA6A01C-8B6F-43A7-92F2-A6355739274E}"/>
          </ac:spMkLst>
        </pc:spChg>
        <pc:spChg chg="add mod">
          <ac:chgData name="Enric Mus Catala" userId="d65d4634-8e16-47e9-87ba-a549cc891999" providerId="ADAL" clId="{583CEA4F-D930-406D-8F4D-AEC51A1E6070}" dt="2022-11-23T17:59:18.290" v="1132" actId="1582"/>
          <ac:spMkLst>
            <pc:docMk/>
            <pc:sldMk cId="650411948" sldId="265"/>
            <ac:spMk id="4" creationId="{392DC524-ED47-43E5-AB29-FC6934A0BD14}"/>
          </ac:spMkLst>
        </pc:spChg>
        <pc:spChg chg="add mod ord">
          <ac:chgData name="Enric Mus Catala" userId="d65d4634-8e16-47e9-87ba-a549cc891999" providerId="ADAL" clId="{583CEA4F-D930-406D-8F4D-AEC51A1E6070}" dt="2022-11-23T17:59:35.280" v="1134" actId="1582"/>
          <ac:spMkLst>
            <pc:docMk/>
            <pc:sldMk cId="650411948" sldId="265"/>
            <ac:spMk id="5" creationId="{58E72ED5-6DEA-4E02-924F-08425D78FBA9}"/>
          </ac:spMkLst>
        </pc:spChg>
        <pc:spChg chg="add mod ord">
          <ac:chgData name="Enric Mus Catala" userId="d65d4634-8e16-47e9-87ba-a549cc891999" providerId="ADAL" clId="{583CEA4F-D930-406D-8F4D-AEC51A1E6070}" dt="2022-11-23T17:59:42.638" v="1135" actId="1582"/>
          <ac:spMkLst>
            <pc:docMk/>
            <pc:sldMk cId="650411948" sldId="265"/>
            <ac:spMk id="6" creationId="{729B4F23-6E73-4CA6-81B1-72E7D1FD79B5}"/>
          </ac:spMkLst>
        </pc:spChg>
        <pc:spChg chg="add mod ord">
          <ac:chgData name="Enric Mus Catala" userId="d65d4634-8e16-47e9-87ba-a549cc891999" providerId="ADAL" clId="{583CEA4F-D930-406D-8F4D-AEC51A1E6070}" dt="2022-11-24T15:01:03.688" v="4695" actId="20577"/>
          <ac:spMkLst>
            <pc:docMk/>
            <pc:sldMk cId="650411948" sldId="265"/>
            <ac:spMk id="8" creationId="{7D4CB53B-440D-43AA-97A4-B43AEFB0341D}"/>
          </ac:spMkLst>
        </pc:spChg>
        <pc:spChg chg="add del mod ord">
          <ac:chgData name="Enric Mus Catala" userId="d65d4634-8e16-47e9-87ba-a549cc891999" providerId="ADAL" clId="{583CEA4F-D930-406D-8F4D-AEC51A1E6070}" dt="2022-11-23T18:03:50.340" v="1422" actId="478"/>
          <ac:spMkLst>
            <pc:docMk/>
            <pc:sldMk cId="650411948" sldId="265"/>
            <ac:spMk id="13" creationId="{7B68527A-DA58-4AD3-9045-06C7B288A442}"/>
          </ac:spMkLst>
        </pc:spChg>
        <pc:spChg chg="add mod ord">
          <ac:chgData name="Enric Mus Catala" userId="d65d4634-8e16-47e9-87ba-a549cc891999" providerId="ADAL" clId="{583CEA4F-D930-406D-8F4D-AEC51A1E6070}" dt="2022-11-24T15:02:21.211" v="4729" actId="14100"/>
          <ac:spMkLst>
            <pc:docMk/>
            <pc:sldMk cId="650411948" sldId="265"/>
            <ac:spMk id="14" creationId="{B5E336B9-ED1D-454B-BCCF-FC8CD5975228}"/>
          </ac:spMkLst>
        </pc:spChg>
        <pc:spChg chg="add mod">
          <ac:chgData name="Enric Mus Catala" userId="d65d4634-8e16-47e9-87ba-a549cc891999" providerId="ADAL" clId="{583CEA4F-D930-406D-8F4D-AEC51A1E6070}" dt="2022-11-23T17:59:25.077" v="1133" actId="1582"/>
          <ac:spMkLst>
            <pc:docMk/>
            <pc:sldMk cId="650411948" sldId="265"/>
            <ac:spMk id="15" creationId="{A7E0C103-F1D2-4126-A0AE-98E6EE4F0CCE}"/>
          </ac:spMkLst>
        </pc:spChg>
        <pc:spChg chg="mod ord">
          <ac:chgData name="Enric Mus Catala" userId="d65d4634-8e16-47e9-87ba-a549cc891999" providerId="ADAL" clId="{583CEA4F-D930-406D-8F4D-AEC51A1E6070}" dt="2022-11-23T18:03:00.388" v="1236" actId="20577"/>
          <ac:spMkLst>
            <pc:docMk/>
            <pc:sldMk cId="650411948" sldId="265"/>
            <ac:spMk id="17" creationId="{5A173CE9-C5A9-44C7-94C1-5148588C74D1}"/>
          </ac:spMkLst>
        </pc:spChg>
        <pc:spChg chg="mod ord">
          <ac:chgData name="Enric Mus Catala" userId="d65d4634-8e16-47e9-87ba-a549cc891999" providerId="ADAL" clId="{583CEA4F-D930-406D-8F4D-AEC51A1E6070}" dt="2022-11-23T17:59:42.638" v="1135" actId="1582"/>
          <ac:spMkLst>
            <pc:docMk/>
            <pc:sldMk cId="650411948" sldId="265"/>
            <ac:spMk id="19" creationId="{01FE285D-8F4E-4C47-A5B2-62058810ADDE}"/>
          </ac:spMkLst>
        </pc:spChg>
        <pc:spChg chg="add mod ord">
          <ac:chgData name="Enric Mus Catala" userId="d65d4634-8e16-47e9-87ba-a549cc891999" providerId="ADAL" clId="{583CEA4F-D930-406D-8F4D-AEC51A1E6070}" dt="2022-11-24T15:02:00.461" v="4713" actId="6549"/>
          <ac:spMkLst>
            <pc:docMk/>
            <pc:sldMk cId="650411948" sldId="265"/>
            <ac:spMk id="24" creationId="{2B71ADF5-9050-424D-A067-A0111E2113C6}"/>
          </ac:spMkLst>
        </pc:spChg>
        <pc:grpChg chg="add mod ord">
          <ac:chgData name="Enric Mus Catala" userId="d65d4634-8e16-47e9-87ba-a549cc891999" providerId="ADAL" clId="{583CEA4F-D930-406D-8F4D-AEC51A1E6070}" dt="2022-11-23T17:54:46.219" v="1048" actId="14861"/>
          <ac:grpSpMkLst>
            <pc:docMk/>
            <pc:sldMk cId="650411948" sldId="265"/>
            <ac:grpSpMk id="3" creationId="{988DA0BD-9754-4615-87CF-B74A34704F34}"/>
          </ac:grpSpMkLst>
        </pc:grpChg>
        <pc:grpChg chg="add mod ord">
          <ac:chgData name="Enric Mus Catala" userId="d65d4634-8e16-47e9-87ba-a549cc891999" providerId="ADAL" clId="{583CEA4F-D930-406D-8F4D-AEC51A1E6070}" dt="2022-11-23T18:01:06.744" v="1158" actId="14861"/>
          <ac:grpSpMkLst>
            <pc:docMk/>
            <pc:sldMk cId="650411948" sldId="265"/>
            <ac:grpSpMk id="20" creationId="{025C1974-CC85-47CA-AB07-7552CBF3CA7B}"/>
          </ac:grpSpMkLst>
        </pc:grpChg>
        <pc:grpChg chg="add mod ord">
          <ac:chgData name="Enric Mus Catala" userId="d65d4634-8e16-47e9-87ba-a549cc891999" providerId="ADAL" clId="{583CEA4F-D930-406D-8F4D-AEC51A1E6070}" dt="2022-11-23T18:01:06.744" v="1158" actId="14861"/>
          <ac:grpSpMkLst>
            <pc:docMk/>
            <pc:sldMk cId="650411948" sldId="265"/>
            <ac:grpSpMk id="21" creationId="{7C68B53F-2752-4546-BE0D-895F56F8BDE7}"/>
          </ac:grpSpMkLst>
        </pc:grpChg>
        <pc:grpChg chg="add mod ord">
          <ac:chgData name="Enric Mus Catala" userId="d65d4634-8e16-47e9-87ba-a549cc891999" providerId="ADAL" clId="{583CEA4F-D930-406D-8F4D-AEC51A1E6070}" dt="2022-11-23T18:01:06.744" v="1158" actId="14861"/>
          <ac:grpSpMkLst>
            <pc:docMk/>
            <pc:sldMk cId="650411948" sldId="265"/>
            <ac:grpSpMk id="22" creationId="{1DF6FB86-1CC8-4547-B84C-16C04BB85650}"/>
          </ac:grpSpMkLst>
        </pc:grpChg>
        <pc:graphicFrameChg chg="add mod ord modVis replST">
          <ac:chgData name="Enric Mus Catala" userId="d65d4634-8e16-47e9-87ba-a549cc891999" providerId="ADAL" clId="{583CEA4F-D930-406D-8F4D-AEC51A1E6070}" dt="2022-11-23T17:56:11.977" v="1106"/>
          <ac:graphicFrameMkLst>
            <pc:docMk/>
            <pc:sldMk cId="650411948" sldId="265"/>
            <ac:graphicFrameMk id="7" creationId="{0F736897-BFA9-41AC-9FCD-17A27AC24D30}"/>
          </ac:graphicFrameMkLst>
        </pc:graphicFrameChg>
        <pc:picChg chg="add mod ord">
          <ac:chgData name="Enric Mus Catala" userId="d65d4634-8e16-47e9-87ba-a549cc891999" providerId="ADAL" clId="{583CEA4F-D930-406D-8F4D-AEC51A1E6070}" dt="2022-11-23T17:56:11.973" v="1093"/>
          <ac:picMkLst>
            <pc:docMk/>
            <pc:sldMk cId="650411948" sldId="265"/>
            <ac:picMk id="10" creationId="{791B9BD6-BFA9-4333-B563-60292C7FB45A}"/>
          </ac:picMkLst>
        </pc:picChg>
        <pc:picChg chg="add del mod ord">
          <ac:chgData name="Enric Mus Catala" userId="d65d4634-8e16-47e9-87ba-a549cc891999" providerId="ADAL" clId="{583CEA4F-D930-406D-8F4D-AEC51A1E6070}" dt="2022-11-23T17:51:58.706" v="896" actId="478"/>
          <ac:picMkLst>
            <pc:docMk/>
            <pc:sldMk cId="650411948" sldId="265"/>
            <ac:picMk id="11" creationId="{AB553657-D0A2-4E77-8F77-FD64BF026030}"/>
          </ac:picMkLst>
        </pc:picChg>
        <pc:picChg chg="add del mod ord">
          <ac:chgData name="Enric Mus Catala" userId="d65d4634-8e16-47e9-87ba-a549cc891999" providerId="ADAL" clId="{583CEA4F-D930-406D-8F4D-AEC51A1E6070}" dt="2022-11-23T18:00:46.796" v="1137" actId="478"/>
          <ac:picMkLst>
            <pc:docMk/>
            <pc:sldMk cId="650411948" sldId="265"/>
            <ac:picMk id="12" creationId="{1AFF6F8D-D0B3-4904-B9AA-40BEDF65AE2A}"/>
          </ac:picMkLst>
        </pc:picChg>
        <pc:picChg chg="add mod ord">
          <ac:chgData name="Enric Mus Catala" userId="d65d4634-8e16-47e9-87ba-a549cc891999" providerId="ADAL" clId="{583CEA4F-D930-406D-8F4D-AEC51A1E6070}" dt="2022-11-23T17:56:11.974" v="1103"/>
          <ac:picMkLst>
            <pc:docMk/>
            <pc:sldMk cId="650411948" sldId="265"/>
            <ac:picMk id="16" creationId="{40098F37-8D30-4414-B42D-5D9E10A6D1FB}"/>
          </ac:picMkLst>
        </pc:picChg>
        <pc:picChg chg="add mod ord">
          <ac:chgData name="Enric Mus Catala" userId="d65d4634-8e16-47e9-87ba-a549cc891999" providerId="ADAL" clId="{583CEA4F-D930-406D-8F4D-AEC51A1E6070}" dt="2022-11-23T17:56:11.974" v="1097"/>
          <ac:picMkLst>
            <pc:docMk/>
            <pc:sldMk cId="650411948" sldId="265"/>
            <ac:picMk id="18" creationId="{B7EB6BC2-A2F2-4E7C-A707-A2FC40AF2868}"/>
          </ac:picMkLst>
        </pc:picChg>
      </pc:sldChg>
      <pc:sldChg chg="addSp delSp modSp mod modTransition modShow">
        <pc:chgData name="Enric Mus Catala" userId="d65d4634-8e16-47e9-87ba-a549cc891999" providerId="ADAL" clId="{583CEA4F-D930-406D-8F4D-AEC51A1E6070}" dt="2022-11-23T18:35:22.389" v="2236"/>
        <pc:sldMkLst>
          <pc:docMk/>
          <pc:sldMk cId="3784341845" sldId="266"/>
        </pc:sldMkLst>
        <pc:spChg chg="add mod">
          <ac:chgData name="Enric Mus Catala" userId="d65d4634-8e16-47e9-87ba-a549cc891999" providerId="ADAL" clId="{583CEA4F-D930-406D-8F4D-AEC51A1E6070}" dt="2022-11-23T18:20:35.287" v="1852" actId="20577"/>
          <ac:spMkLst>
            <pc:docMk/>
            <pc:sldMk cId="3784341845" sldId="266"/>
            <ac:spMk id="3" creationId="{F14C9F00-3A9E-4C5B-BBF6-F86B97E2E984}"/>
          </ac:spMkLst>
        </pc:spChg>
        <pc:spChg chg="add mod">
          <ac:chgData name="Enric Mus Catala" userId="d65d4634-8e16-47e9-87ba-a549cc891999" providerId="ADAL" clId="{583CEA4F-D930-406D-8F4D-AEC51A1E6070}" dt="2022-11-23T18:27:58.253" v="1967" actId="12"/>
          <ac:spMkLst>
            <pc:docMk/>
            <pc:sldMk cId="3784341845" sldId="266"/>
            <ac:spMk id="15" creationId="{B36E7234-2C46-48EB-8396-5561CEE30719}"/>
          </ac:spMkLst>
        </pc:spChg>
        <pc:spChg chg="add mod">
          <ac:chgData name="Enric Mus Catala" userId="d65d4634-8e16-47e9-87ba-a549cc891999" providerId="ADAL" clId="{583CEA4F-D930-406D-8F4D-AEC51A1E6070}" dt="2022-11-23T18:31:20.299" v="2233" actId="20577"/>
          <ac:spMkLst>
            <pc:docMk/>
            <pc:sldMk cId="3784341845" sldId="266"/>
            <ac:spMk id="16" creationId="{25CE0F25-FB00-4F16-8785-DB700198EF7F}"/>
          </ac:spMkLst>
        </pc:spChg>
        <pc:picChg chg="add mod">
          <ac:chgData name="Enric Mus Catala" userId="d65d4634-8e16-47e9-87ba-a549cc891999" providerId="ADAL" clId="{583CEA4F-D930-406D-8F4D-AEC51A1E6070}" dt="2022-11-23T18:13:45.224" v="1602" actId="1076"/>
          <ac:picMkLst>
            <pc:docMk/>
            <pc:sldMk cId="3784341845" sldId="266"/>
            <ac:picMk id="17" creationId="{7CD2B965-EAB1-402D-9CE9-1D7DA34D4F48}"/>
          </ac:picMkLst>
        </pc:picChg>
        <pc:picChg chg="add mod">
          <ac:chgData name="Enric Mus Catala" userId="d65d4634-8e16-47e9-87ba-a549cc891999" providerId="ADAL" clId="{583CEA4F-D930-406D-8F4D-AEC51A1E6070}" dt="2022-11-23T18:14:01.239" v="1614" actId="1076"/>
          <ac:picMkLst>
            <pc:docMk/>
            <pc:sldMk cId="3784341845" sldId="266"/>
            <ac:picMk id="19" creationId="{3F5C019E-9C06-47E2-8A4D-BE6125E43874}"/>
          </ac:picMkLst>
        </pc:picChg>
        <pc:picChg chg="add mod">
          <ac:chgData name="Enric Mus Catala" userId="d65d4634-8e16-47e9-87ba-a549cc891999" providerId="ADAL" clId="{583CEA4F-D930-406D-8F4D-AEC51A1E6070}" dt="2022-11-23T18:13:39.283" v="1601" actId="1076"/>
          <ac:picMkLst>
            <pc:docMk/>
            <pc:sldMk cId="3784341845" sldId="266"/>
            <ac:picMk id="21" creationId="{05FCDA0C-AA45-4BDC-8ED7-17EE2D356043}"/>
          </ac:picMkLst>
        </pc:picChg>
        <pc:picChg chg="add del mod">
          <ac:chgData name="Enric Mus Catala" userId="d65d4634-8e16-47e9-87ba-a549cc891999" providerId="ADAL" clId="{583CEA4F-D930-406D-8F4D-AEC51A1E6070}" dt="2022-11-23T18:13:13.086" v="1585" actId="478"/>
          <ac:picMkLst>
            <pc:docMk/>
            <pc:sldMk cId="3784341845" sldId="266"/>
            <ac:picMk id="23" creationId="{E97F71BC-BDF7-49DF-A5A3-884D311A0C31}"/>
          </ac:picMkLst>
        </pc:picChg>
      </pc:sldChg>
      <pc:sldChg chg="modSp mod modTransition modShow">
        <pc:chgData name="Enric Mus Catala" userId="d65d4634-8e16-47e9-87ba-a549cc891999" providerId="ADAL" clId="{583CEA4F-D930-406D-8F4D-AEC51A1E6070}" dt="2022-11-23T23:03:46.598" v="4008" actId="20577"/>
        <pc:sldMkLst>
          <pc:docMk/>
          <pc:sldMk cId="3533722340" sldId="267"/>
        </pc:sldMkLst>
        <pc:spChg chg="mod">
          <ac:chgData name="Enric Mus Catala" userId="d65d4634-8e16-47e9-87ba-a549cc891999" providerId="ADAL" clId="{583CEA4F-D930-406D-8F4D-AEC51A1E6070}" dt="2022-11-23T23:03:46.598" v="4008" actId="20577"/>
          <ac:spMkLst>
            <pc:docMk/>
            <pc:sldMk cId="3533722340" sldId="267"/>
            <ac:spMk id="5" creationId="{F4FD2A65-820F-4A84-8B37-32703528B3F9}"/>
          </ac:spMkLst>
        </pc:spChg>
      </pc:sldChg>
      <pc:sldChg chg="addSp modSp mod">
        <pc:chgData name="Enric Mus Catala" userId="d65d4634-8e16-47e9-87ba-a549cc891999" providerId="ADAL" clId="{583CEA4F-D930-406D-8F4D-AEC51A1E6070}" dt="2022-11-24T15:49:21.043" v="4852" actId="122"/>
        <pc:sldMkLst>
          <pc:docMk/>
          <pc:sldMk cId="2602030770" sldId="268"/>
        </pc:sldMkLst>
        <pc:spChg chg="mod">
          <ac:chgData name="Enric Mus Catala" userId="d65d4634-8e16-47e9-87ba-a549cc891999" providerId="ADAL" clId="{583CEA4F-D930-406D-8F4D-AEC51A1E6070}" dt="2022-11-24T15:49:21.043" v="4852" actId="122"/>
          <ac:spMkLst>
            <pc:docMk/>
            <pc:sldMk cId="2602030770" sldId="268"/>
            <ac:spMk id="9" creationId="{789B9E76-C930-4FBB-8425-6BFA57DF7F4A}"/>
          </ac:spMkLst>
        </pc:spChg>
        <pc:spChg chg="mod">
          <ac:chgData name="Enric Mus Catala" userId="d65d4634-8e16-47e9-87ba-a549cc891999" providerId="ADAL" clId="{583CEA4F-D930-406D-8F4D-AEC51A1E6070}" dt="2022-11-24T15:49:21.043" v="4852" actId="122"/>
          <ac:spMkLst>
            <pc:docMk/>
            <pc:sldMk cId="2602030770" sldId="268"/>
            <ac:spMk id="10" creationId="{2BC1B790-59B0-48CF-8069-C0B65B20DA6B}"/>
          </ac:spMkLst>
        </pc:spChg>
        <pc:spChg chg="mod">
          <ac:chgData name="Enric Mus Catala" userId="d65d4634-8e16-47e9-87ba-a549cc891999" providerId="ADAL" clId="{583CEA4F-D930-406D-8F4D-AEC51A1E6070}" dt="2022-11-24T15:49:21.043" v="4852" actId="122"/>
          <ac:spMkLst>
            <pc:docMk/>
            <pc:sldMk cId="2602030770" sldId="268"/>
            <ac:spMk id="11" creationId="{18E44BB5-0281-4563-AF1A-EB7D9F07FD7B}"/>
          </ac:spMkLst>
        </pc:spChg>
        <pc:spChg chg="mod">
          <ac:chgData name="Enric Mus Catala" userId="d65d4634-8e16-47e9-87ba-a549cc891999" providerId="ADAL" clId="{583CEA4F-D930-406D-8F4D-AEC51A1E6070}" dt="2022-11-24T15:49:21.043" v="4852" actId="122"/>
          <ac:spMkLst>
            <pc:docMk/>
            <pc:sldMk cId="2602030770" sldId="268"/>
            <ac:spMk id="12" creationId="{3AB69078-C89E-40BF-8249-93FBD2C693F3}"/>
          </ac:spMkLst>
        </pc:spChg>
        <pc:spChg chg="add mod">
          <ac:chgData name="Enric Mus Catala" userId="d65d4634-8e16-47e9-87ba-a549cc891999" providerId="ADAL" clId="{583CEA4F-D930-406D-8F4D-AEC51A1E6070}" dt="2022-11-24T15:49:18.076" v="4851" actId="571"/>
          <ac:spMkLst>
            <pc:docMk/>
            <pc:sldMk cId="2602030770" sldId="268"/>
            <ac:spMk id="35" creationId="{1CA90DC8-E946-44D4-9059-A37DC04A62E8}"/>
          </ac:spMkLst>
        </pc:spChg>
        <pc:spChg chg="add mod">
          <ac:chgData name="Enric Mus Catala" userId="d65d4634-8e16-47e9-87ba-a549cc891999" providerId="ADAL" clId="{583CEA4F-D930-406D-8F4D-AEC51A1E6070}" dt="2022-11-24T15:49:18.076" v="4851" actId="571"/>
          <ac:spMkLst>
            <pc:docMk/>
            <pc:sldMk cId="2602030770" sldId="268"/>
            <ac:spMk id="36" creationId="{75AAC1A1-4BEC-4087-B3A1-E2A9FE752FF8}"/>
          </ac:spMkLst>
        </pc:spChg>
        <pc:spChg chg="add mod">
          <ac:chgData name="Enric Mus Catala" userId="d65d4634-8e16-47e9-87ba-a549cc891999" providerId="ADAL" clId="{583CEA4F-D930-406D-8F4D-AEC51A1E6070}" dt="2022-11-24T15:49:18.076" v="4851" actId="571"/>
          <ac:spMkLst>
            <pc:docMk/>
            <pc:sldMk cId="2602030770" sldId="268"/>
            <ac:spMk id="37" creationId="{D82CB4A2-6F55-4664-AA45-8643C8C967B8}"/>
          </ac:spMkLst>
        </pc:spChg>
      </pc:sldChg>
      <pc:sldChg chg="addSp modSp mod">
        <pc:chgData name="Enric Mus Catala" userId="d65d4634-8e16-47e9-87ba-a549cc891999" providerId="ADAL" clId="{583CEA4F-D930-406D-8F4D-AEC51A1E6070}" dt="2022-11-24T15:03:02.094" v="4753" actId="5793"/>
        <pc:sldMkLst>
          <pc:docMk/>
          <pc:sldMk cId="831793054" sldId="269"/>
        </pc:sldMkLst>
        <pc:spChg chg="mod">
          <ac:chgData name="Enric Mus Catala" userId="d65d4634-8e16-47e9-87ba-a549cc891999" providerId="ADAL" clId="{583CEA4F-D930-406D-8F4D-AEC51A1E6070}" dt="2022-11-24T15:03:02.094" v="4753" actId="5793"/>
          <ac:spMkLst>
            <pc:docMk/>
            <pc:sldMk cId="831793054" sldId="269"/>
            <ac:spMk id="3" creationId="{F14C9F00-3A9E-4C5B-BBF6-F86B97E2E984}"/>
          </ac:spMkLst>
        </pc:spChg>
        <pc:spChg chg="mod">
          <ac:chgData name="Enric Mus Catala" userId="d65d4634-8e16-47e9-87ba-a549cc891999" providerId="ADAL" clId="{583CEA4F-D930-406D-8F4D-AEC51A1E6070}" dt="2022-11-23T18:42:42.166" v="2291" actId="14100"/>
          <ac:spMkLst>
            <pc:docMk/>
            <pc:sldMk cId="831793054" sldId="269"/>
            <ac:spMk id="6" creationId="{5991FE91-53F5-4D4E-A61C-05D929EAADB4}"/>
          </ac:spMkLst>
        </pc:spChg>
        <pc:spChg chg="mod">
          <ac:chgData name="Enric Mus Catala" userId="d65d4634-8e16-47e9-87ba-a549cc891999" providerId="ADAL" clId="{583CEA4F-D930-406D-8F4D-AEC51A1E6070}" dt="2022-11-23T22:53:16.632" v="3809" actId="164"/>
          <ac:spMkLst>
            <pc:docMk/>
            <pc:sldMk cId="831793054" sldId="269"/>
            <ac:spMk id="11" creationId="{F1EFDB62-DB39-43E3-852F-39D83E113ECC}"/>
          </ac:spMkLst>
        </pc:spChg>
        <pc:spChg chg="mod">
          <ac:chgData name="Enric Mus Catala" userId="d65d4634-8e16-47e9-87ba-a549cc891999" providerId="ADAL" clId="{583CEA4F-D930-406D-8F4D-AEC51A1E6070}" dt="2022-11-23T18:36:45.173" v="2239" actId="14100"/>
          <ac:spMkLst>
            <pc:docMk/>
            <pc:sldMk cId="831793054" sldId="269"/>
            <ac:spMk id="12" creationId="{FBBB9ED6-369A-4249-B641-14ED1BF9F1A3}"/>
          </ac:spMkLst>
        </pc:spChg>
        <pc:spChg chg="mod">
          <ac:chgData name="Enric Mus Catala" userId="d65d4634-8e16-47e9-87ba-a549cc891999" providerId="ADAL" clId="{583CEA4F-D930-406D-8F4D-AEC51A1E6070}" dt="2022-11-23T22:53:10.739" v="3808" actId="164"/>
          <ac:spMkLst>
            <pc:docMk/>
            <pc:sldMk cId="831793054" sldId="269"/>
            <ac:spMk id="14" creationId="{469435A3-9A62-443C-A2B0-9CB0602BCE36}"/>
          </ac:spMkLst>
        </pc:spChg>
        <pc:spChg chg="mod">
          <ac:chgData name="Enric Mus Catala" userId="d65d4634-8e16-47e9-87ba-a549cc891999" providerId="ADAL" clId="{583CEA4F-D930-406D-8F4D-AEC51A1E6070}" dt="2022-11-23T22:53:10.739" v="3808" actId="164"/>
          <ac:spMkLst>
            <pc:docMk/>
            <pc:sldMk cId="831793054" sldId="269"/>
            <ac:spMk id="15" creationId="{B36E7234-2C46-48EB-8396-5561CEE30719}"/>
          </ac:spMkLst>
        </pc:spChg>
        <pc:spChg chg="mod">
          <ac:chgData name="Enric Mus Catala" userId="d65d4634-8e16-47e9-87ba-a549cc891999" providerId="ADAL" clId="{583CEA4F-D930-406D-8F4D-AEC51A1E6070}" dt="2022-11-23T22:53:16.632" v="3809" actId="164"/>
          <ac:spMkLst>
            <pc:docMk/>
            <pc:sldMk cId="831793054" sldId="269"/>
            <ac:spMk id="16" creationId="{25CE0F25-FB00-4F16-8785-DB700198EF7F}"/>
          </ac:spMkLst>
        </pc:spChg>
        <pc:spChg chg="mod">
          <ac:chgData name="Enric Mus Catala" userId="d65d4634-8e16-47e9-87ba-a549cc891999" providerId="ADAL" clId="{583CEA4F-D930-406D-8F4D-AEC51A1E6070}" dt="2022-11-23T22:53:21.237" v="3810" actId="164"/>
          <ac:spMkLst>
            <pc:docMk/>
            <pc:sldMk cId="831793054" sldId="269"/>
            <ac:spMk id="18" creationId="{C8970312-47ED-4D69-A206-579FC1A88AC3}"/>
          </ac:spMkLst>
        </pc:spChg>
        <pc:spChg chg="mod">
          <ac:chgData name="Enric Mus Catala" userId="d65d4634-8e16-47e9-87ba-a549cc891999" providerId="ADAL" clId="{583CEA4F-D930-406D-8F4D-AEC51A1E6070}" dt="2022-11-23T22:53:10.739" v="3808" actId="164"/>
          <ac:spMkLst>
            <pc:docMk/>
            <pc:sldMk cId="831793054" sldId="269"/>
            <ac:spMk id="23" creationId="{DA1E771E-E4D5-4511-AFB3-16E8CA9A6324}"/>
          </ac:spMkLst>
        </pc:spChg>
        <pc:spChg chg="mod">
          <ac:chgData name="Enric Mus Catala" userId="d65d4634-8e16-47e9-87ba-a549cc891999" providerId="ADAL" clId="{583CEA4F-D930-406D-8F4D-AEC51A1E6070}" dt="2022-11-23T22:53:10.739" v="3808" actId="164"/>
          <ac:spMkLst>
            <pc:docMk/>
            <pc:sldMk cId="831793054" sldId="269"/>
            <ac:spMk id="25" creationId="{E277C564-FCB4-48F7-8E3D-0F57E183F661}"/>
          </ac:spMkLst>
        </pc:spChg>
        <pc:grpChg chg="add mod">
          <ac:chgData name="Enric Mus Catala" userId="d65d4634-8e16-47e9-87ba-a549cc891999" providerId="ADAL" clId="{583CEA4F-D930-406D-8F4D-AEC51A1E6070}" dt="2022-11-23T22:53:10.739" v="3808" actId="164"/>
          <ac:grpSpMkLst>
            <pc:docMk/>
            <pc:sldMk cId="831793054" sldId="269"/>
            <ac:grpSpMk id="26" creationId="{2D9B6725-9773-49A3-A8D5-F166D5C997EE}"/>
          </ac:grpSpMkLst>
        </pc:grpChg>
        <pc:grpChg chg="add mod">
          <ac:chgData name="Enric Mus Catala" userId="d65d4634-8e16-47e9-87ba-a549cc891999" providerId="ADAL" clId="{583CEA4F-D930-406D-8F4D-AEC51A1E6070}" dt="2022-11-23T22:53:16.632" v="3809" actId="164"/>
          <ac:grpSpMkLst>
            <pc:docMk/>
            <pc:sldMk cId="831793054" sldId="269"/>
            <ac:grpSpMk id="27" creationId="{5CEC085D-6426-44B3-BE5D-037F39A639BE}"/>
          </ac:grpSpMkLst>
        </pc:grpChg>
        <pc:grpChg chg="add mod">
          <ac:chgData name="Enric Mus Catala" userId="d65d4634-8e16-47e9-87ba-a549cc891999" providerId="ADAL" clId="{583CEA4F-D930-406D-8F4D-AEC51A1E6070}" dt="2022-11-23T22:53:21.237" v="3810" actId="164"/>
          <ac:grpSpMkLst>
            <pc:docMk/>
            <pc:sldMk cId="831793054" sldId="269"/>
            <ac:grpSpMk id="28" creationId="{3ABB2A2F-03AE-46B7-B800-8573F5B876F6}"/>
          </ac:grpSpMkLst>
        </pc:grpChg>
        <pc:picChg chg="mod">
          <ac:chgData name="Enric Mus Catala" userId="d65d4634-8e16-47e9-87ba-a549cc891999" providerId="ADAL" clId="{583CEA4F-D930-406D-8F4D-AEC51A1E6070}" dt="2022-11-23T22:53:21.237" v="3810" actId="164"/>
          <ac:picMkLst>
            <pc:docMk/>
            <pc:sldMk cId="831793054" sldId="269"/>
            <ac:picMk id="17" creationId="{7CD2B965-EAB1-402D-9CE9-1D7DA34D4F48}"/>
          </ac:picMkLst>
        </pc:picChg>
        <pc:picChg chg="mod">
          <ac:chgData name="Enric Mus Catala" userId="d65d4634-8e16-47e9-87ba-a549cc891999" providerId="ADAL" clId="{583CEA4F-D930-406D-8F4D-AEC51A1E6070}" dt="2022-11-23T22:53:10.739" v="3808" actId="164"/>
          <ac:picMkLst>
            <pc:docMk/>
            <pc:sldMk cId="831793054" sldId="269"/>
            <ac:picMk id="19" creationId="{3F5C019E-9C06-47E2-8A4D-BE6125E43874}"/>
          </ac:picMkLst>
        </pc:picChg>
        <pc:picChg chg="mod">
          <ac:chgData name="Enric Mus Catala" userId="d65d4634-8e16-47e9-87ba-a549cc891999" providerId="ADAL" clId="{583CEA4F-D930-406D-8F4D-AEC51A1E6070}" dt="2022-11-23T22:53:16.632" v="3809" actId="164"/>
          <ac:picMkLst>
            <pc:docMk/>
            <pc:sldMk cId="831793054" sldId="269"/>
            <ac:picMk id="21" creationId="{05FCDA0C-AA45-4BDC-8ED7-17EE2D356043}"/>
          </ac:picMkLst>
        </pc:picChg>
      </pc:sldChg>
      <pc:sldChg chg="addSp delSp modSp new add del mod">
        <pc:chgData name="Enric Mus Catala" userId="d65d4634-8e16-47e9-87ba-a549cc891999" providerId="ADAL" clId="{583CEA4F-D930-406D-8F4D-AEC51A1E6070}" dt="2022-11-23T23:02:17.178" v="4003" actId="47"/>
        <pc:sldMkLst>
          <pc:docMk/>
          <pc:sldMk cId="2101139152" sldId="270"/>
        </pc:sldMkLst>
        <pc:spChg chg="mod ord">
          <ac:chgData name="Enric Mus Catala" userId="d65d4634-8e16-47e9-87ba-a549cc891999" providerId="ADAL" clId="{583CEA4F-D930-406D-8F4D-AEC51A1E6070}" dt="2022-11-23T22:41:45.192" v="3432"/>
          <ac:spMkLst>
            <pc:docMk/>
            <pc:sldMk cId="2101139152" sldId="270"/>
            <ac:spMk id="2" creationId="{84A5015E-2AA8-4213-8A2B-C3E5BDBF76A1}"/>
          </ac:spMkLst>
        </pc:spChg>
        <pc:spChg chg="del">
          <ac:chgData name="Enric Mus Catala" userId="d65d4634-8e16-47e9-87ba-a549cc891999" providerId="ADAL" clId="{583CEA4F-D930-406D-8F4D-AEC51A1E6070}" dt="2022-11-23T19:00:12.435" v="2780" actId="478"/>
          <ac:spMkLst>
            <pc:docMk/>
            <pc:sldMk cId="2101139152" sldId="270"/>
            <ac:spMk id="3" creationId="{3A7F17C6-E74D-4586-843E-AB92288A9AC2}"/>
          </ac:spMkLst>
        </pc:spChg>
        <pc:spChg chg="mod ord">
          <ac:chgData name="Enric Mus Catala" userId="d65d4634-8e16-47e9-87ba-a549cc891999" providerId="ADAL" clId="{583CEA4F-D930-406D-8F4D-AEC51A1E6070}" dt="2022-11-23T22:41:45.192" v="3434"/>
          <ac:spMkLst>
            <pc:docMk/>
            <pc:sldMk cId="2101139152" sldId="270"/>
            <ac:spMk id="4" creationId="{F9CD8463-B69A-4DFE-9ACC-88A502038A96}"/>
          </ac:spMkLst>
        </pc:spChg>
        <pc:spChg chg="mod">
          <ac:chgData name="Enric Mus Catala" userId="d65d4634-8e16-47e9-87ba-a549cc891999" providerId="ADAL" clId="{583CEA4F-D930-406D-8F4D-AEC51A1E6070}" dt="2022-11-23T22:41:45.192" v="3451"/>
          <ac:spMkLst>
            <pc:docMk/>
            <pc:sldMk cId="2101139152" sldId="270"/>
            <ac:spMk id="5" creationId="{22EA9FAC-DB8E-4F34-8736-0853D0A45846}"/>
          </ac:spMkLst>
        </pc:spChg>
        <pc:spChg chg="add del mod modVis">
          <ac:chgData name="Enric Mus Catala" userId="d65d4634-8e16-47e9-87ba-a549cc891999" providerId="ADAL" clId="{583CEA4F-D930-406D-8F4D-AEC51A1E6070}" dt="2022-11-23T19:00:00.923" v="2490"/>
          <ac:spMkLst>
            <pc:docMk/>
            <pc:sldMk cId="2101139152" sldId="270"/>
            <ac:spMk id="5" creationId="{658F3247-77FF-4476-92A2-11DAEAB900BF}"/>
          </ac:spMkLst>
        </pc:spChg>
        <pc:spChg chg="add del mod modVis">
          <ac:chgData name="Enric Mus Catala" userId="d65d4634-8e16-47e9-87ba-a549cc891999" providerId="ADAL" clId="{583CEA4F-D930-406D-8F4D-AEC51A1E6070}" dt="2022-11-23T19:00:02.861" v="2555"/>
          <ac:spMkLst>
            <pc:docMk/>
            <pc:sldMk cId="2101139152" sldId="270"/>
            <ac:spMk id="7" creationId="{A71986FF-23A0-4273-B418-31D466481ECA}"/>
          </ac:spMkLst>
        </pc:spChg>
        <pc:spChg chg="add del mod modVis">
          <ac:chgData name="Enric Mus Catala" userId="d65d4634-8e16-47e9-87ba-a549cc891999" providerId="ADAL" clId="{583CEA4F-D930-406D-8F4D-AEC51A1E6070}" dt="2022-11-23T19:00:04.464" v="2601"/>
          <ac:spMkLst>
            <pc:docMk/>
            <pc:sldMk cId="2101139152" sldId="270"/>
            <ac:spMk id="8" creationId="{9EF38EC1-13ED-46CD-977B-52D02700265B}"/>
          </ac:spMkLst>
        </pc:spChg>
        <pc:spChg chg="add del mod modVis">
          <ac:chgData name="Enric Mus Catala" userId="d65d4634-8e16-47e9-87ba-a549cc891999" providerId="ADAL" clId="{583CEA4F-D930-406D-8F4D-AEC51A1E6070}" dt="2022-11-23T22:40:58.175" v="3421"/>
          <ac:spMkLst>
            <pc:docMk/>
            <pc:sldMk cId="2101139152" sldId="270"/>
            <ac:spMk id="8" creationId="{A0B6BDD5-AF7E-421C-A7C2-D968E922D204}"/>
          </ac:spMkLst>
        </pc:spChg>
        <pc:spChg chg="add del mod modVis">
          <ac:chgData name="Enric Mus Catala" userId="d65d4634-8e16-47e9-87ba-a549cc891999" providerId="ADAL" clId="{583CEA4F-D930-406D-8F4D-AEC51A1E6070}" dt="2022-11-23T19:00:05.239" v="2645"/>
          <ac:spMkLst>
            <pc:docMk/>
            <pc:sldMk cId="2101139152" sldId="270"/>
            <ac:spMk id="9" creationId="{A9233028-94A0-4FBF-9DA5-6756C30C4FF5}"/>
          </ac:spMkLst>
        </pc:spChg>
        <pc:spChg chg="add del mod modVis">
          <ac:chgData name="Enric Mus Catala" userId="d65d4634-8e16-47e9-87ba-a549cc891999" providerId="ADAL" clId="{583CEA4F-D930-406D-8F4D-AEC51A1E6070}" dt="2022-11-23T19:00:05.856" v="2689"/>
          <ac:spMkLst>
            <pc:docMk/>
            <pc:sldMk cId="2101139152" sldId="270"/>
            <ac:spMk id="10" creationId="{B27C7EA6-E6BB-4D51-A1CF-3EB03D045C39}"/>
          </ac:spMkLst>
        </pc:spChg>
        <pc:spChg chg="add del mod modVis">
          <ac:chgData name="Enric Mus Catala" userId="d65d4634-8e16-47e9-87ba-a549cc891999" providerId="ADAL" clId="{583CEA4F-D930-406D-8F4D-AEC51A1E6070}" dt="2022-11-23T19:00:06.704" v="2733"/>
          <ac:spMkLst>
            <pc:docMk/>
            <pc:sldMk cId="2101139152" sldId="270"/>
            <ac:spMk id="11" creationId="{83557319-1D3A-4777-BF05-9732E6028AC5}"/>
          </ac:spMkLst>
        </pc:spChg>
        <pc:spChg chg="add del mod modVis">
          <ac:chgData name="Enric Mus Catala" userId="d65d4634-8e16-47e9-87ba-a549cc891999" providerId="ADAL" clId="{583CEA4F-D930-406D-8F4D-AEC51A1E6070}" dt="2022-11-23T19:00:10.470" v="2777"/>
          <ac:spMkLst>
            <pc:docMk/>
            <pc:sldMk cId="2101139152" sldId="270"/>
            <ac:spMk id="12" creationId="{3183562A-B843-42EA-B39F-C4E870759649}"/>
          </ac:spMkLst>
        </pc:spChg>
        <pc:spChg chg="add mod ord">
          <ac:chgData name="Enric Mus Catala" userId="d65d4634-8e16-47e9-87ba-a549cc891999" providerId="ADAL" clId="{583CEA4F-D930-406D-8F4D-AEC51A1E6070}" dt="2022-11-23T22:41:45.192" v="3436"/>
          <ac:spMkLst>
            <pc:docMk/>
            <pc:sldMk cId="2101139152" sldId="270"/>
            <ac:spMk id="13" creationId="{3D95C96F-A6DA-4A05-90AF-CA9A168E3595}"/>
          </ac:spMkLst>
        </pc:spChg>
        <pc:spChg chg="add mod ord">
          <ac:chgData name="Enric Mus Catala" userId="d65d4634-8e16-47e9-87ba-a549cc891999" providerId="ADAL" clId="{583CEA4F-D930-406D-8F4D-AEC51A1E6070}" dt="2022-11-23T22:44:21.424" v="3511" actId="12788"/>
          <ac:spMkLst>
            <pc:docMk/>
            <pc:sldMk cId="2101139152" sldId="270"/>
            <ac:spMk id="14" creationId="{6E32160E-D95D-4BF8-8BAB-53A7210C7435}"/>
          </ac:spMkLst>
        </pc:spChg>
        <pc:spChg chg="add mod ord">
          <ac:chgData name="Enric Mus Catala" userId="d65d4634-8e16-47e9-87ba-a549cc891999" providerId="ADAL" clId="{583CEA4F-D930-406D-8F4D-AEC51A1E6070}" dt="2022-11-23T22:44:08.865" v="3509" actId="12788"/>
          <ac:spMkLst>
            <pc:docMk/>
            <pc:sldMk cId="2101139152" sldId="270"/>
            <ac:spMk id="15" creationId="{16AE67B6-CDF6-47F1-B22D-F52CF73D5E54}"/>
          </ac:spMkLst>
        </pc:spChg>
        <pc:spChg chg="add mod ord">
          <ac:chgData name="Enric Mus Catala" userId="d65d4634-8e16-47e9-87ba-a549cc891999" providerId="ADAL" clId="{583CEA4F-D930-406D-8F4D-AEC51A1E6070}" dt="2022-11-23T22:44:16.378" v="3510" actId="12788"/>
          <ac:spMkLst>
            <pc:docMk/>
            <pc:sldMk cId="2101139152" sldId="270"/>
            <ac:spMk id="16" creationId="{975376C4-E370-4DDD-B036-84BAAF13CC87}"/>
          </ac:spMkLst>
        </pc:spChg>
        <pc:spChg chg="add del mod modVis">
          <ac:chgData name="Enric Mus Catala" userId="d65d4634-8e16-47e9-87ba-a549cc891999" providerId="ADAL" clId="{583CEA4F-D930-406D-8F4D-AEC51A1E6070}" dt="2022-11-23T19:05:23.261" v="3023"/>
          <ac:spMkLst>
            <pc:docMk/>
            <pc:sldMk cId="2101139152" sldId="270"/>
            <ac:spMk id="17" creationId="{55566191-301D-48B8-8755-B6D6B6E3720E}"/>
          </ac:spMkLst>
        </pc:spChg>
        <pc:spChg chg="add mod ord">
          <ac:chgData name="Enric Mus Catala" userId="d65d4634-8e16-47e9-87ba-a549cc891999" providerId="ADAL" clId="{583CEA4F-D930-406D-8F4D-AEC51A1E6070}" dt="2022-11-23T22:44:21.424" v="3511" actId="12788"/>
          <ac:spMkLst>
            <pc:docMk/>
            <pc:sldMk cId="2101139152" sldId="270"/>
            <ac:spMk id="18" creationId="{3A675BC0-83B7-4C9E-80BB-C94CDD83E2E0}"/>
          </ac:spMkLst>
        </pc:spChg>
        <pc:spChg chg="add mod ord">
          <ac:chgData name="Enric Mus Catala" userId="d65d4634-8e16-47e9-87ba-a549cc891999" providerId="ADAL" clId="{583CEA4F-D930-406D-8F4D-AEC51A1E6070}" dt="2022-11-23T22:44:16.378" v="3510" actId="12788"/>
          <ac:spMkLst>
            <pc:docMk/>
            <pc:sldMk cId="2101139152" sldId="270"/>
            <ac:spMk id="19" creationId="{4847E85A-5980-45B5-9056-3107330A6BED}"/>
          </ac:spMkLst>
        </pc:spChg>
        <pc:spChg chg="add mod ord">
          <ac:chgData name="Enric Mus Catala" userId="d65d4634-8e16-47e9-87ba-a549cc891999" providerId="ADAL" clId="{583CEA4F-D930-406D-8F4D-AEC51A1E6070}" dt="2022-11-23T22:44:08.865" v="3509" actId="12788"/>
          <ac:spMkLst>
            <pc:docMk/>
            <pc:sldMk cId="2101139152" sldId="270"/>
            <ac:spMk id="20" creationId="{B4E62292-B68B-4546-B88D-3299EF598451}"/>
          </ac:spMkLst>
        </pc:spChg>
        <pc:spChg chg="add mod ord">
          <ac:chgData name="Enric Mus Catala" userId="d65d4634-8e16-47e9-87ba-a549cc891999" providerId="ADAL" clId="{583CEA4F-D930-406D-8F4D-AEC51A1E6070}" dt="2022-11-23T22:42:46.756" v="3494" actId="164"/>
          <ac:spMkLst>
            <pc:docMk/>
            <pc:sldMk cId="2101139152" sldId="270"/>
            <ac:spMk id="21" creationId="{23B91FEC-6888-4251-8AAC-36EECCD4FDA8}"/>
          </ac:spMkLst>
        </pc:spChg>
        <pc:spChg chg="add mod ord">
          <ac:chgData name="Enric Mus Catala" userId="d65d4634-8e16-47e9-87ba-a549cc891999" providerId="ADAL" clId="{583CEA4F-D930-406D-8F4D-AEC51A1E6070}" dt="2022-11-23T22:42:40.492" v="3491" actId="164"/>
          <ac:spMkLst>
            <pc:docMk/>
            <pc:sldMk cId="2101139152" sldId="270"/>
            <ac:spMk id="22" creationId="{2B05FA95-AA0D-49B7-BF34-A4725972E209}"/>
          </ac:spMkLst>
        </pc:spChg>
        <pc:spChg chg="add mod ord">
          <ac:chgData name="Enric Mus Catala" userId="d65d4634-8e16-47e9-87ba-a549cc891999" providerId="ADAL" clId="{583CEA4F-D930-406D-8F4D-AEC51A1E6070}" dt="2022-11-23T22:44:00.621" v="3508" actId="164"/>
          <ac:spMkLst>
            <pc:docMk/>
            <pc:sldMk cId="2101139152" sldId="270"/>
            <ac:spMk id="23" creationId="{3D77AB4D-D745-47AE-AFB8-52C65833757A}"/>
          </ac:spMkLst>
        </pc:spChg>
        <pc:grpChg chg="add mod">
          <ac:chgData name="Enric Mus Catala" userId="d65d4634-8e16-47e9-87ba-a549cc891999" providerId="ADAL" clId="{583CEA4F-D930-406D-8F4D-AEC51A1E6070}" dt="2022-11-23T22:44:16.378" v="3510" actId="12788"/>
          <ac:grpSpMkLst>
            <pc:docMk/>
            <pc:sldMk cId="2101139152" sldId="270"/>
            <ac:grpSpMk id="9" creationId="{9361A6E2-D249-45D0-A2A8-177E9112AD8C}"/>
          </ac:grpSpMkLst>
        </pc:grpChg>
        <pc:grpChg chg="add mod">
          <ac:chgData name="Enric Mus Catala" userId="d65d4634-8e16-47e9-87ba-a549cc891999" providerId="ADAL" clId="{583CEA4F-D930-406D-8F4D-AEC51A1E6070}" dt="2022-11-23T22:44:21.424" v="3511" actId="12788"/>
          <ac:grpSpMkLst>
            <pc:docMk/>
            <pc:sldMk cId="2101139152" sldId="270"/>
            <ac:grpSpMk id="10" creationId="{DF8E1E43-1891-49D4-B0E7-A4F10FA772C8}"/>
          </ac:grpSpMkLst>
        </pc:grpChg>
        <pc:grpChg chg="add mod">
          <ac:chgData name="Enric Mus Catala" userId="d65d4634-8e16-47e9-87ba-a549cc891999" providerId="ADAL" clId="{583CEA4F-D930-406D-8F4D-AEC51A1E6070}" dt="2022-11-23T22:44:08.865" v="3509" actId="12788"/>
          <ac:grpSpMkLst>
            <pc:docMk/>
            <pc:sldMk cId="2101139152" sldId="270"/>
            <ac:grpSpMk id="11" creationId="{86F04A5E-4DE8-4D75-99C4-7F6A38E61DF8}"/>
          </ac:grpSpMkLst>
        </pc:grpChg>
        <pc:graphicFrameChg chg="add mod ord modVis replST">
          <ac:chgData name="Enric Mus Catala" userId="d65d4634-8e16-47e9-87ba-a549cc891999" providerId="ADAL" clId="{583CEA4F-D930-406D-8F4D-AEC51A1E6070}" dt="2022-11-23T22:41:45.192" v="3464"/>
          <ac:graphicFrameMkLst>
            <pc:docMk/>
            <pc:sldMk cId="2101139152" sldId="270"/>
            <ac:graphicFrameMk id="6" creationId="{A2DF11E9-3BAF-4D77-9148-4825BAF587FF}"/>
          </ac:graphicFrameMkLst>
        </pc:graphicFrameChg>
        <pc:picChg chg="add del mod">
          <ac:chgData name="Enric Mus Catala" userId="d65d4634-8e16-47e9-87ba-a549cc891999" providerId="ADAL" clId="{583CEA4F-D930-406D-8F4D-AEC51A1E6070}" dt="2022-11-23T19:15:56.108" v="3197" actId="478"/>
          <ac:picMkLst>
            <pc:docMk/>
            <pc:sldMk cId="2101139152" sldId="270"/>
            <ac:picMk id="22" creationId="{9C20DCDE-314E-47F2-AF05-0513FCF1B8BC}"/>
          </ac:picMkLst>
        </pc:picChg>
        <pc:picChg chg="add del mod">
          <ac:chgData name="Enric Mus Catala" userId="d65d4634-8e16-47e9-87ba-a549cc891999" providerId="ADAL" clId="{583CEA4F-D930-406D-8F4D-AEC51A1E6070}" dt="2022-11-23T19:14:52.150" v="3188" actId="478"/>
          <ac:picMkLst>
            <pc:docMk/>
            <pc:sldMk cId="2101139152" sldId="270"/>
            <ac:picMk id="24" creationId="{F84504E7-D1A6-4CBF-9950-863F89B8883A}"/>
          </ac:picMkLst>
        </pc:picChg>
        <pc:picChg chg="add mod ord">
          <ac:chgData name="Enric Mus Catala" userId="d65d4634-8e16-47e9-87ba-a549cc891999" providerId="ADAL" clId="{583CEA4F-D930-406D-8F4D-AEC51A1E6070}" dt="2022-11-23T22:44:00.621" v="3508" actId="164"/>
          <ac:picMkLst>
            <pc:docMk/>
            <pc:sldMk cId="2101139152" sldId="270"/>
            <ac:picMk id="26" creationId="{3D26DEED-3AB3-4168-A978-F9232F0F2622}"/>
          </ac:picMkLst>
        </pc:picChg>
        <pc:picChg chg="add mod ord">
          <ac:chgData name="Enric Mus Catala" userId="d65d4634-8e16-47e9-87ba-a549cc891999" providerId="ADAL" clId="{583CEA4F-D930-406D-8F4D-AEC51A1E6070}" dt="2022-11-23T22:42:40.492" v="3491" actId="164"/>
          <ac:picMkLst>
            <pc:docMk/>
            <pc:sldMk cId="2101139152" sldId="270"/>
            <ac:picMk id="28" creationId="{CF36E550-88F7-4BC4-85F6-83F4D873840D}"/>
          </ac:picMkLst>
        </pc:picChg>
        <pc:picChg chg="add mod ord">
          <ac:chgData name="Enric Mus Catala" userId="d65d4634-8e16-47e9-87ba-a549cc891999" providerId="ADAL" clId="{583CEA4F-D930-406D-8F4D-AEC51A1E6070}" dt="2022-11-23T22:42:46.756" v="3494" actId="164"/>
          <ac:picMkLst>
            <pc:docMk/>
            <pc:sldMk cId="2101139152" sldId="270"/>
            <ac:picMk id="30" creationId="{9D5914E5-7A67-4D15-97F3-0DA840C79A43}"/>
          </ac:picMkLst>
        </pc:picChg>
        <pc:cxnChg chg="add mod ord">
          <ac:chgData name="Enric Mus Catala" userId="d65d4634-8e16-47e9-87ba-a549cc891999" providerId="ADAL" clId="{583CEA4F-D930-406D-8F4D-AEC51A1E6070}" dt="2022-11-23T22:41:45.192" v="3453"/>
          <ac:cxnSpMkLst>
            <pc:docMk/>
            <pc:sldMk cId="2101139152" sldId="270"/>
            <ac:cxnSpMk id="7" creationId="{F1111ED5-F987-4641-AAFA-63AADA446C73}"/>
          </ac:cxnSpMkLst>
        </pc:cxnChg>
      </pc:sldChg>
      <pc:sldChg chg="addSp delSp modSp mod">
        <pc:chgData name="Enric Mus Catala" userId="d65d4634-8e16-47e9-87ba-a549cc891999" providerId="ADAL" clId="{583CEA4F-D930-406D-8F4D-AEC51A1E6070}" dt="2022-11-23T23:00:42.179" v="4000" actId="14100"/>
        <pc:sldMkLst>
          <pc:docMk/>
          <pc:sldMk cId="1641666667" sldId="271"/>
        </pc:sldMkLst>
        <pc:spChg chg="mod ord">
          <ac:chgData name="Enric Mus Catala" userId="d65d4634-8e16-47e9-87ba-a549cc891999" providerId="ADAL" clId="{583CEA4F-D930-406D-8F4D-AEC51A1E6070}" dt="2022-11-23T22:59:09.174" v="3901"/>
          <ac:spMkLst>
            <pc:docMk/>
            <pc:sldMk cId="1641666667" sldId="271"/>
            <ac:spMk id="2" creationId="{F5BEA453-86B2-4D6B-8F50-1355083F9C6F}"/>
          </ac:spMkLst>
        </pc:spChg>
        <pc:spChg chg="mod ord">
          <ac:chgData name="Enric Mus Catala" userId="d65d4634-8e16-47e9-87ba-a549cc891999" providerId="ADAL" clId="{583CEA4F-D930-406D-8F4D-AEC51A1E6070}" dt="2022-11-23T22:59:09.174" v="3905"/>
          <ac:spMkLst>
            <pc:docMk/>
            <pc:sldMk cId="1641666667" sldId="271"/>
            <ac:spMk id="3" creationId="{53C366B4-FEF8-42A4-9EB9-64A743FF12B5}"/>
          </ac:spMkLst>
        </pc:spChg>
        <pc:spChg chg="add mod ord">
          <ac:chgData name="Enric Mus Catala" userId="d65d4634-8e16-47e9-87ba-a549cc891999" providerId="ADAL" clId="{583CEA4F-D930-406D-8F4D-AEC51A1E6070}" dt="2022-11-23T23:00:42.179" v="4000" actId="14100"/>
          <ac:spMkLst>
            <pc:docMk/>
            <pc:sldMk cId="1641666667" sldId="271"/>
            <ac:spMk id="4" creationId="{E7E7F248-A6EC-4775-9234-C53BF7A17E3E}"/>
          </ac:spMkLst>
        </pc:spChg>
        <pc:spChg chg="add del mod modVis">
          <ac:chgData name="Enric Mus Catala" userId="d65d4634-8e16-47e9-87ba-a549cc891999" providerId="ADAL" clId="{583CEA4F-D930-406D-8F4D-AEC51A1E6070}" dt="2022-11-23T22:59:09.177" v="3914"/>
          <ac:spMkLst>
            <pc:docMk/>
            <pc:sldMk cId="1641666667" sldId="271"/>
            <ac:spMk id="6" creationId="{FC0CE1C7-F3B9-4B00-863E-BE8872DFFC76}"/>
          </ac:spMkLst>
        </pc:spChg>
        <pc:spChg chg="mod ord">
          <ac:chgData name="Enric Mus Catala" userId="d65d4634-8e16-47e9-87ba-a549cc891999" providerId="ADAL" clId="{583CEA4F-D930-406D-8F4D-AEC51A1E6070}" dt="2022-11-23T22:59:09.174" v="3903"/>
          <ac:spMkLst>
            <pc:docMk/>
            <pc:sldMk cId="1641666667" sldId="271"/>
            <ac:spMk id="26" creationId="{98C10D04-A1AA-49D2-B2EF-01B3243BC12D}"/>
          </ac:spMkLst>
        </pc:spChg>
        <pc:graphicFrameChg chg="mod">
          <ac:chgData name="Enric Mus Catala" userId="d65d4634-8e16-47e9-87ba-a549cc891999" providerId="ADAL" clId="{583CEA4F-D930-406D-8F4D-AEC51A1E6070}" dt="2022-11-23T22:59:09.179" v="3916"/>
          <ac:graphicFrameMkLst>
            <pc:docMk/>
            <pc:sldMk cId="1641666667" sldId="271"/>
            <ac:graphicFrameMk id="5" creationId="{031B39ED-941B-40A2-BB3C-B76D12F43DA7}"/>
          </ac:graphicFrameMkLst>
        </pc:graphicFrameChg>
        <pc:picChg chg="mod ord">
          <ac:chgData name="Enric Mus Catala" userId="d65d4634-8e16-47e9-87ba-a549cc891999" providerId="ADAL" clId="{583CEA4F-D930-406D-8F4D-AEC51A1E6070}" dt="2022-11-23T22:59:09.175" v="3911"/>
          <ac:picMkLst>
            <pc:docMk/>
            <pc:sldMk cId="1641666667" sldId="271"/>
            <ac:picMk id="28" creationId="{4D0B4D89-D248-4F23-8CBA-EC3EA727D0A6}"/>
          </ac:picMkLst>
        </pc:picChg>
        <pc:picChg chg="mod ord">
          <ac:chgData name="Enric Mus Catala" userId="d65d4634-8e16-47e9-87ba-a549cc891999" providerId="ADAL" clId="{583CEA4F-D930-406D-8F4D-AEC51A1E6070}" dt="2022-11-23T22:59:09.175" v="3907"/>
          <ac:picMkLst>
            <pc:docMk/>
            <pc:sldMk cId="1641666667" sldId="271"/>
            <ac:picMk id="33" creationId="{76FD66F5-6D67-46D2-82F6-0D8DA06CD24B}"/>
          </ac:picMkLst>
        </pc:picChg>
      </pc:sldChg>
      <pc:sldChg chg="modSp del mod modTransition modShow">
        <pc:chgData name="Enric Mus Catala" userId="d65d4634-8e16-47e9-87ba-a549cc891999" providerId="ADAL" clId="{583CEA4F-D930-406D-8F4D-AEC51A1E6070}" dt="2022-11-23T23:01:55.632" v="4001" actId="2696"/>
        <pc:sldMkLst>
          <pc:docMk/>
          <pc:sldMk cId="3265055301" sldId="273"/>
        </pc:sldMkLst>
        <pc:spChg chg="mod">
          <ac:chgData name="Enric Mus Catala" userId="d65d4634-8e16-47e9-87ba-a549cc891999" providerId="ADAL" clId="{583CEA4F-D930-406D-8F4D-AEC51A1E6070}" dt="2022-11-23T22:53:55.660" v="3814" actId="14100"/>
          <ac:spMkLst>
            <pc:docMk/>
            <pc:sldMk cId="3265055301" sldId="273"/>
            <ac:spMk id="4" creationId="{392DC524-ED47-43E5-AB29-FC6934A0BD14}"/>
          </ac:spMkLst>
        </pc:spChg>
        <pc:spChg chg="mod">
          <ac:chgData name="Enric Mus Catala" userId="d65d4634-8e16-47e9-87ba-a549cc891999" providerId="ADAL" clId="{583CEA4F-D930-406D-8F4D-AEC51A1E6070}" dt="2022-11-23T22:54:26.504" v="3815" actId="14100"/>
          <ac:spMkLst>
            <pc:docMk/>
            <pc:sldMk cId="3265055301" sldId="273"/>
            <ac:spMk id="5" creationId="{58E72ED5-6DEA-4E02-924F-08425D78FBA9}"/>
          </ac:spMkLst>
        </pc:spChg>
        <pc:spChg chg="mod">
          <ac:chgData name="Enric Mus Catala" userId="d65d4634-8e16-47e9-87ba-a549cc891999" providerId="ADAL" clId="{583CEA4F-D930-406D-8F4D-AEC51A1E6070}" dt="2022-11-23T22:54:31.814" v="3816" actId="14100"/>
          <ac:spMkLst>
            <pc:docMk/>
            <pc:sldMk cId="3265055301" sldId="273"/>
            <ac:spMk id="6" creationId="{729B4F23-6E73-4CA6-81B1-72E7D1FD79B5}"/>
          </ac:spMkLst>
        </pc:spChg>
        <pc:spChg chg="mod">
          <ac:chgData name="Enric Mus Catala" userId="d65d4634-8e16-47e9-87ba-a549cc891999" providerId="ADAL" clId="{583CEA4F-D930-406D-8F4D-AEC51A1E6070}" dt="2022-11-23T22:53:35.535" v="3811" actId="122"/>
          <ac:spMkLst>
            <pc:docMk/>
            <pc:sldMk cId="3265055301" sldId="273"/>
            <ac:spMk id="8" creationId="{7D4CB53B-440D-43AA-97A4-B43AEFB0341D}"/>
          </ac:spMkLst>
        </pc:spChg>
        <pc:spChg chg="mod">
          <ac:chgData name="Enric Mus Catala" userId="d65d4634-8e16-47e9-87ba-a549cc891999" providerId="ADAL" clId="{583CEA4F-D930-406D-8F4D-AEC51A1E6070}" dt="2022-11-23T22:53:43.415" v="3813" actId="122"/>
          <ac:spMkLst>
            <pc:docMk/>
            <pc:sldMk cId="3265055301" sldId="273"/>
            <ac:spMk id="14" creationId="{B5E336B9-ED1D-454B-BCCF-FC8CD5975228}"/>
          </ac:spMkLst>
        </pc:spChg>
        <pc:spChg chg="mod">
          <ac:chgData name="Enric Mus Catala" userId="d65d4634-8e16-47e9-87ba-a549cc891999" providerId="ADAL" clId="{583CEA4F-D930-406D-8F4D-AEC51A1E6070}" dt="2022-11-23T22:53:40.773" v="3812" actId="122"/>
          <ac:spMkLst>
            <pc:docMk/>
            <pc:sldMk cId="3265055301" sldId="273"/>
            <ac:spMk id="24" creationId="{2B71ADF5-9050-424D-A067-A0111E2113C6}"/>
          </ac:spMkLst>
        </pc:spChg>
        <pc:grpChg chg="mod">
          <ac:chgData name="Enric Mus Catala" userId="d65d4634-8e16-47e9-87ba-a549cc891999" providerId="ADAL" clId="{583CEA4F-D930-406D-8F4D-AEC51A1E6070}" dt="2022-11-23T22:56:11.428" v="3858" actId="14861"/>
          <ac:grpSpMkLst>
            <pc:docMk/>
            <pc:sldMk cId="3265055301" sldId="273"/>
            <ac:grpSpMk id="20" creationId="{025C1974-CC85-47CA-AB07-7552CBF3CA7B}"/>
          </ac:grpSpMkLst>
        </pc:grpChg>
        <pc:grpChg chg="mod">
          <ac:chgData name="Enric Mus Catala" userId="d65d4634-8e16-47e9-87ba-a549cc891999" providerId="ADAL" clId="{583CEA4F-D930-406D-8F4D-AEC51A1E6070}" dt="2022-11-23T22:56:11.428" v="3858" actId="14861"/>
          <ac:grpSpMkLst>
            <pc:docMk/>
            <pc:sldMk cId="3265055301" sldId="273"/>
            <ac:grpSpMk id="21" creationId="{7C68B53F-2752-4546-BE0D-895F56F8BDE7}"/>
          </ac:grpSpMkLst>
        </pc:grpChg>
        <pc:grpChg chg="mod">
          <ac:chgData name="Enric Mus Catala" userId="d65d4634-8e16-47e9-87ba-a549cc891999" providerId="ADAL" clId="{583CEA4F-D930-406D-8F4D-AEC51A1E6070}" dt="2022-11-23T22:56:11.428" v="3858" actId="14861"/>
          <ac:grpSpMkLst>
            <pc:docMk/>
            <pc:sldMk cId="3265055301" sldId="273"/>
            <ac:grpSpMk id="22" creationId="{1DF6FB86-1CC8-4547-B84C-16C04BB85650}"/>
          </ac:grpSpMkLst>
        </pc:grpChg>
      </pc:sldChg>
      <pc:sldChg chg="addSp delSp modSp add mod modTransition modShow">
        <pc:chgData name="Enric Mus Catala" userId="d65d4634-8e16-47e9-87ba-a549cc891999" providerId="ADAL" clId="{583CEA4F-D930-406D-8F4D-AEC51A1E6070}" dt="2022-11-23T23:05:32.896" v="4073" actId="20577"/>
        <pc:sldMkLst>
          <pc:docMk/>
          <pc:sldMk cId="3871465549" sldId="274"/>
        </pc:sldMkLst>
        <pc:spChg chg="mod ord">
          <ac:chgData name="Enric Mus Catala" userId="d65d4634-8e16-47e9-87ba-a549cc891999" providerId="ADAL" clId="{583CEA4F-D930-406D-8F4D-AEC51A1E6070}" dt="2022-11-23T22:49:45.330" v="3738"/>
          <ac:spMkLst>
            <pc:docMk/>
            <pc:sldMk cId="3871465549" sldId="274"/>
            <ac:spMk id="2" creationId="{84A5015E-2AA8-4213-8A2B-C3E5BDBF76A1}"/>
          </ac:spMkLst>
        </pc:spChg>
        <pc:spChg chg="add del mod modVis">
          <ac:chgData name="Enric Mus Catala" userId="d65d4634-8e16-47e9-87ba-a549cc891999" providerId="ADAL" clId="{583CEA4F-D930-406D-8F4D-AEC51A1E6070}" dt="2022-11-23T22:46:13.588" v="3594"/>
          <ac:spMkLst>
            <pc:docMk/>
            <pc:sldMk cId="3871465549" sldId="274"/>
            <ac:spMk id="3" creationId="{E6C95FE4-C914-4884-B41F-37D53A3D2AA2}"/>
          </ac:spMkLst>
        </pc:spChg>
        <pc:spChg chg="mod ord">
          <ac:chgData name="Enric Mus Catala" userId="d65d4634-8e16-47e9-87ba-a549cc891999" providerId="ADAL" clId="{583CEA4F-D930-406D-8F4D-AEC51A1E6070}" dt="2022-11-23T22:49:45.330" v="3740"/>
          <ac:spMkLst>
            <pc:docMk/>
            <pc:sldMk cId="3871465549" sldId="274"/>
            <ac:spMk id="4" creationId="{F9CD8463-B69A-4DFE-9ACC-88A502038A96}"/>
          </ac:spMkLst>
        </pc:spChg>
        <pc:spChg chg="del mod">
          <ac:chgData name="Enric Mus Catala" userId="d65d4634-8e16-47e9-87ba-a549cc891999" providerId="ADAL" clId="{583CEA4F-D930-406D-8F4D-AEC51A1E6070}" dt="2022-11-23T22:51:28.568" v="3801" actId="478"/>
          <ac:spMkLst>
            <pc:docMk/>
            <pc:sldMk cId="3871465549" sldId="274"/>
            <ac:spMk id="5" creationId="{22EA9FAC-DB8E-4F34-8736-0853D0A45846}"/>
          </ac:spMkLst>
        </pc:spChg>
        <pc:spChg chg="mod ord">
          <ac:chgData name="Enric Mus Catala" userId="d65d4634-8e16-47e9-87ba-a549cc891999" providerId="ADAL" clId="{583CEA4F-D930-406D-8F4D-AEC51A1E6070}" dt="2022-11-23T23:05:32.896" v="4073" actId="20577"/>
          <ac:spMkLst>
            <pc:docMk/>
            <pc:sldMk cId="3871465549" sldId="274"/>
            <ac:spMk id="13" creationId="{3D95C96F-A6DA-4A05-90AF-CA9A168E3595}"/>
          </ac:spMkLst>
        </pc:spChg>
        <pc:spChg chg="mod ord topLvl">
          <ac:chgData name="Enric Mus Catala" userId="d65d4634-8e16-47e9-87ba-a549cc891999" providerId="ADAL" clId="{583CEA4F-D930-406D-8F4D-AEC51A1E6070}" dt="2022-11-23T22:52:08.518" v="3807" actId="165"/>
          <ac:spMkLst>
            <pc:docMk/>
            <pc:sldMk cId="3871465549" sldId="274"/>
            <ac:spMk id="14" creationId="{6E32160E-D95D-4BF8-8BAB-53A7210C7435}"/>
          </ac:spMkLst>
        </pc:spChg>
        <pc:spChg chg="mod ord topLvl">
          <ac:chgData name="Enric Mus Catala" userId="d65d4634-8e16-47e9-87ba-a549cc891999" providerId="ADAL" clId="{583CEA4F-D930-406D-8F4D-AEC51A1E6070}" dt="2022-11-23T22:52:08.518" v="3807" actId="165"/>
          <ac:spMkLst>
            <pc:docMk/>
            <pc:sldMk cId="3871465549" sldId="274"/>
            <ac:spMk id="15" creationId="{16AE67B6-CDF6-47F1-B22D-F52CF73D5E54}"/>
          </ac:spMkLst>
        </pc:spChg>
        <pc:spChg chg="mod ord topLvl">
          <ac:chgData name="Enric Mus Catala" userId="d65d4634-8e16-47e9-87ba-a549cc891999" providerId="ADAL" clId="{583CEA4F-D930-406D-8F4D-AEC51A1E6070}" dt="2022-11-23T22:52:08.518" v="3807" actId="165"/>
          <ac:spMkLst>
            <pc:docMk/>
            <pc:sldMk cId="3871465549" sldId="274"/>
            <ac:spMk id="16" creationId="{975376C4-E370-4DDD-B036-84BAAF13CC87}"/>
          </ac:spMkLst>
        </pc:spChg>
        <pc:spChg chg="mod ord topLvl">
          <ac:chgData name="Enric Mus Catala" userId="d65d4634-8e16-47e9-87ba-a549cc891999" providerId="ADAL" clId="{583CEA4F-D930-406D-8F4D-AEC51A1E6070}" dt="2022-11-23T22:52:08.518" v="3807" actId="165"/>
          <ac:spMkLst>
            <pc:docMk/>
            <pc:sldMk cId="3871465549" sldId="274"/>
            <ac:spMk id="18" creationId="{3A675BC0-83B7-4C9E-80BB-C94CDD83E2E0}"/>
          </ac:spMkLst>
        </pc:spChg>
        <pc:spChg chg="mod ord topLvl">
          <ac:chgData name="Enric Mus Catala" userId="d65d4634-8e16-47e9-87ba-a549cc891999" providerId="ADAL" clId="{583CEA4F-D930-406D-8F4D-AEC51A1E6070}" dt="2022-11-23T22:52:08.518" v="3807" actId="165"/>
          <ac:spMkLst>
            <pc:docMk/>
            <pc:sldMk cId="3871465549" sldId="274"/>
            <ac:spMk id="19" creationId="{4847E85A-5980-45B5-9056-3107330A6BED}"/>
          </ac:spMkLst>
        </pc:spChg>
        <pc:spChg chg="mod ord topLvl">
          <ac:chgData name="Enric Mus Catala" userId="d65d4634-8e16-47e9-87ba-a549cc891999" providerId="ADAL" clId="{583CEA4F-D930-406D-8F4D-AEC51A1E6070}" dt="2022-11-23T22:52:08.518" v="3807" actId="165"/>
          <ac:spMkLst>
            <pc:docMk/>
            <pc:sldMk cId="3871465549" sldId="274"/>
            <ac:spMk id="20" creationId="{B4E62292-B68B-4546-B88D-3299EF598451}"/>
          </ac:spMkLst>
        </pc:spChg>
        <pc:spChg chg="mod ord topLvl">
          <ac:chgData name="Enric Mus Catala" userId="d65d4634-8e16-47e9-87ba-a549cc891999" providerId="ADAL" clId="{583CEA4F-D930-406D-8F4D-AEC51A1E6070}" dt="2022-11-23T22:52:08.518" v="3807" actId="165"/>
          <ac:spMkLst>
            <pc:docMk/>
            <pc:sldMk cId="3871465549" sldId="274"/>
            <ac:spMk id="21" creationId="{23B91FEC-6888-4251-8AAC-36EECCD4FDA8}"/>
          </ac:spMkLst>
        </pc:spChg>
        <pc:spChg chg="mod ord topLvl">
          <ac:chgData name="Enric Mus Catala" userId="d65d4634-8e16-47e9-87ba-a549cc891999" providerId="ADAL" clId="{583CEA4F-D930-406D-8F4D-AEC51A1E6070}" dt="2022-11-23T22:52:08.518" v="3807" actId="165"/>
          <ac:spMkLst>
            <pc:docMk/>
            <pc:sldMk cId="3871465549" sldId="274"/>
            <ac:spMk id="22" creationId="{2B05FA95-AA0D-49B7-BF34-A4725972E209}"/>
          </ac:spMkLst>
        </pc:spChg>
        <pc:spChg chg="mod ord topLvl">
          <ac:chgData name="Enric Mus Catala" userId="d65d4634-8e16-47e9-87ba-a549cc891999" providerId="ADAL" clId="{583CEA4F-D930-406D-8F4D-AEC51A1E6070}" dt="2022-11-23T22:52:08.518" v="3807" actId="165"/>
          <ac:spMkLst>
            <pc:docMk/>
            <pc:sldMk cId="3871465549" sldId="274"/>
            <ac:spMk id="23" creationId="{3D77AB4D-D745-47AE-AFB8-52C65833757A}"/>
          </ac:spMkLst>
        </pc:spChg>
        <pc:spChg chg="add mod ord topLvl">
          <ac:chgData name="Enric Mus Catala" userId="d65d4634-8e16-47e9-87ba-a549cc891999" providerId="ADAL" clId="{583CEA4F-D930-406D-8F4D-AEC51A1E6070}" dt="2022-11-23T22:52:08.518" v="3807" actId="165"/>
          <ac:spMkLst>
            <pc:docMk/>
            <pc:sldMk cId="3871465549" sldId="274"/>
            <ac:spMk id="24" creationId="{ED2E137F-3C66-446B-9D01-7C20E1990026}"/>
          </ac:spMkLst>
        </pc:spChg>
        <pc:spChg chg="add mod ord topLvl">
          <ac:chgData name="Enric Mus Catala" userId="d65d4634-8e16-47e9-87ba-a549cc891999" providerId="ADAL" clId="{583CEA4F-D930-406D-8F4D-AEC51A1E6070}" dt="2022-11-23T22:52:08.518" v="3807" actId="165"/>
          <ac:spMkLst>
            <pc:docMk/>
            <pc:sldMk cId="3871465549" sldId="274"/>
            <ac:spMk id="25" creationId="{AB195AB4-4C49-42D4-8894-B2E8238F9D91}"/>
          </ac:spMkLst>
        </pc:spChg>
        <pc:spChg chg="add mod">
          <ac:chgData name="Enric Mus Catala" userId="d65d4634-8e16-47e9-87ba-a549cc891999" providerId="ADAL" clId="{583CEA4F-D930-406D-8F4D-AEC51A1E6070}" dt="2022-11-23T22:49:38.272" v="3728" actId="571"/>
          <ac:spMkLst>
            <pc:docMk/>
            <pc:sldMk cId="3871465549" sldId="274"/>
            <ac:spMk id="27" creationId="{7219362D-7AC5-4EFD-BC26-054342CF9F7D}"/>
          </ac:spMkLst>
        </pc:spChg>
        <pc:spChg chg="add mod">
          <ac:chgData name="Enric Mus Catala" userId="d65d4634-8e16-47e9-87ba-a549cc891999" providerId="ADAL" clId="{583CEA4F-D930-406D-8F4D-AEC51A1E6070}" dt="2022-11-23T22:49:38.272" v="3728" actId="571"/>
          <ac:spMkLst>
            <pc:docMk/>
            <pc:sldMk cId="3871465549" sldId="274"/>
            <ac:spMk id="29" creationId="{BB536AB8-F026-4517-8438-6452CC959924}"/>
          </ac:spMkLst>
        </pc:spChg>
        <pc:spChg chg="add mod ord">
          <ac:chgData name="Enric Mus Catala" userId="d65d4634-8e16-47e9-87ba-a549cc891999" providerId="ADAL" clId="{583CEA4F-D930-406D-8F4D-AEC51A1E6070}" dt="2022-11-23T22:52:08.518" v="3807" actId="165"/>
          <ac:spMkLst>
            <pc:docMk/>
            <pc:sldMk cId="3871465549" sldId="274"/>
            <ac:spMk id="31" creationId="{FFC9EFDC-7E77-4026-9F98-C4435E30F346}"/>
          </ac:spMkLst>
        </pc:spChg>
        <pc:grpChg chg="add del mod">
          <ac:chgData name="Enric Mus Catala" userId="d65d4634-8e16-47e9-87ba-a549cc891999" providerId="ADAL" clId="{583CEA4F-D930-406D-8F4D-AEC51A1E6070}" dt="2022-11-23T22:49:27.629" v="3725" actId="165"/>
          <ac:grpSpMkLst>
            <pc:docMk/>
            <pc:sldMk cId="3871465549" sldId="274"/>
            <ac:grpSpMk id="8" creationId="{760EF2FC-DD34-4A19-A47F-19C1E963ADE9}"/>
          </ac:grpSpMkLst>
        </pc:grpChg>
        <pc:grpChg chg="del">
          <ac:chgData name="Enric Mus Catala" userId="d65d4634-8e16-47e9-87ba-a549cc891999" providerId="ADAL" clId="{583CEA4F-D930-406D-8F4D-AEC51A1E6070}" dt="2022-11-23T22:45:55.799" v="3516" actId="165"/>
          <ac:grpSpMkLst>
            <pc:docMk/>
            <pc:sldMk cId="3871465549" sldId="274"/>
            <ac:grpSpMk id="9" creationId="{9361A6E2-D249-45D0-A2A8-177E9112AD8C}"/>
          </ac:grpSpMkLst>
        </pc:grpChg>
        <pc:grpChg chg="del">
          <ac:chgData name="Enric Mus Catala" userId="d65d4634-8e16-47e9-87ba-a549cc891999" providerId="ADAL" clId="{583CEA4F-D930-406D-8F4D-AEC51A1E6070}" dt="2022-11-23T22:45:54.184" v="3515" actId="165"/>
          <ac:grpSpMkLst>
            <pc:docMk/>
            <pc:sldMk cId="3871465549" sldId="274"/>
            <ac:grpSpMk id="10" creationId="{DF8E1E43-1891-49D4-B0E7-A4F10FA772C8}"/>
          </ac:grpSpMkLst>
        </pc:grpChg>
        <pc:grpChg chg="del">
          <ac:chgData name="Enric Mus Catala" userId="d65d4634-8e16-47e9-87ba-a549cc891999" providerId="ADAL" clId="{583CEA4F-D930-406D-8F4D-AEC51A1E6070}" dt="2022-11-23T22:45:57.278" v="3517" actId="165"/>
          <ac:grpSpMkLst>
            <pc:docMk/>
            <pc:sldMk cId="3871465549" sldId="274"/>
            <ac:grpSpMk id="11" creationId="{86F04A5E-4DE8-4D75-99C4-7F6A38E61DF8}"/>
          </ac:grpSpMkLst>
        </pc:grpChg>
        <pc:grpChg chg="add mod topLvl">
          <ac:chgData name="Enric Mus Catala" userId="d65d4634-8e16-47e9-87ba-a549cc891999" providerId="ADAL" clId="{583CEA4F-D930-406D-8F4D-AEC51A1E6070}" dt="2022-11-23T22:52:08.518" v="3807" actId="165"/>
          <ac:grpSpMkLst>
            <pc:docMk/>
            <pc:sldMk cId="3871465549" sldId="274"/>
            <ac:grpSpMk id="12" creationId="{981B13E5-41EC-4BA7-85F5-96461C407173}"/>
          </ac:grpSpMkLst>
        </pc:grpChg>
        <pc:grpChg chg="add mod topLvl">
          <ac:chgData name="Enric Mus Catala" userId="d65d4634-8e16-47e9-87ba-a549cc891999" providerId="ADAL" clId="{583CEA4F-D930-406D-8F4D-AEC51A1E6070}" dt="2022-11-23T22:52:08.518" v="3807" actId="165"/>
          <ac:grpSpMkLst>
            <pc:docMk/>
            <pc:sldMk cId="3871465549" sldId="274"/>
            <ac:grpSpMk id="17" creationId="{793CEB6F-C8B9-49CE-9FCB-7CC0B99648D5}"/>
          </ac:grpSpMkLst>
        </pc:grpChg>
        <pc:grpChg chg="add mod topLvl">
          <ac:chgData name="Enric Mus Catala" userId="d65d4634-8e16-47e9-87ba-a549cc891999" providerId="ADAL" clId="{583CEA4F-D930-406D-8F4D-AEC51A1E6070}" dt="2022-11-23T22:52:08.518" v="3807" actId="165"/>
          <ac:grpSpMkLst>
            <pc:docMk/>
            <pc:sldMk cId="3871465549" sldId="274"/>
            <ac:grpSpMk id="32" creationId="{C065B837-10AC-4EE0-9EEB-B73471CBC93C}"/>
          </ac:grpSpMkLst>
        </pc:grpChg>
        <pc:grpChg chg="add del mod">
          <ac:chgData name="Enric Mus Catala" userId="d65d4634-8e16-47e9-87ba-a549cc891999" providerId="ADAL" clId="{583CEA4F-D930-406D-8F4D-AEC51A1E6070}" dt="2022-11-23T22:52:08.518" v="3807" actId="165"/>
          <ac:grpSpMkLst>
            <pc:docMk/>
            <pc:sldMk cId="3871465549" sldId="274"/>
            <ac:grpSpMk id="33" creationId="{32A44C9A-9FBC-4AD5-BEBE-6432777A1C57}"/>
          </ac:grpSpMkLst>
        </pc:grpChg>
        <pc:grpChg chg="add del mod">
          <ac:chgData name="Enric Mus Catala" userId="d65d4634-8e16-47e9-87ba-a549cc891999" providerId="ADAL" clId="{583CEA4F-D930-406D-8F4D-AEC51A1E6070}" dt="2022-11-23T22:52:08.518" v="3807" actId="165"/>
          <ac:grpSpMkLst>
            <pc:docMk/>
            <pc:sldMk cId="3871465549" sldId="274"/>
            <ac:grpSpMk id="34" creationId="{0522228E-F140-4CF7-A73A-F232C1B21661}"/>
          </ac:grpSpMkLst>
        </pc:grpChg>
        <pc:grpChg chg="add del mod">
          <ac:chgData name="Enric Mus Catala" userId="d65d4634-8e16-47e9-87ba-a549cc891999" providerId="ADAL" clId="{583CEA4F-D930-406D-8F4D-AEC51A1E6070}" dt="2022-11-23T22:52:08.518" v="3807" actId="165"/>
          <ac:grpSpMkLst>
            <pc:docMk/>
            <pc:sldMk cId="3871465549" sldId="274"/>
            <ac:grpSpMk id="35" creationId="{676DE3C2-8646-4B6B-B326-3AE852E4EF95}"/>
          </ac:grpSpMkLst>
        </pc:grpChg>
        <pc:graphicFrameChg chg="mod">
          <ac:chgData name="Enric Mus Catala" userId="d65d4634-8e16-47e9-87ba-a549cc891999" providerId="ADAL" clId="{583CEA4F-D930-406D-8F4D-AEC51A1E6070}" dt="2022-11-23T22:49:45.341" v="3770"/>
          <ac:graphicFrameMkLst>
            <pc:docMk/>
            <pc:sldMk cId="3871465549" sldId="274"/>
            <ac:graphicFrameMk id="6" creationId="{A2DF11E9-3BAF-4D77-9148-4825BAF587FF}"/>
          </ac:graphicFrameMkLst>
        </pc:graphicFrameChg>
        <pc:picChg chg="mod ord topLvl">
          <ac:chgData name="Enric Mus Catala" userId="d65d4634-8e16-47e9-87ba-a549cc891999" providerId="ADAL" clId="{583CEA4F-D930-406D-8F4D-AEC51A1E6070}" dt="2022-11-23T22:52:08.518" v="3807" actId="165"/>
          <ac:picMkLst>
            <pc:docMk/>
            <pc:sldMk cId="3871465549" sldId="274"/>
            <ac:picMk id="26" creationId="{3D26DEED-3AB3-4168-A978-F9232F0F2622}"/>
          </ac:picMkLst>
        </pc:picChg>
        <pc:picChg chg="mod ord topLvl">
          <ac:chgData name="Enric Mus Catala" userId="d65d4634-8e16-47e9-87ba-a549cc891999" providerId="ADAL" clId="{583CEA4F-D930-406D-8F4D-AEC51A1E6070}" dt="2022-11-23T22:52:08.518" v="3807" actId="165"/>
          <ac:picMkLst>
            <pc:docMk/>
            <pc:sldMk cId="3871465549" sldId="274"/>
            <ac:picMk id="28" creationId="{CF36E550-88F7-4BC4-85F6-83F4D873840D}"/>
          </ac:picMkLst>
        </pc:picChg>
        <pc:picChg chg="mod ord topLvl">
          <ac:chgData name="Enric Mus Catala" userId="d65d4634-8e16-47e9-87ba-a549cc891999" providerId="ADAL" clId="{583CEA4F-D930-406D-8F4D-AEC51A1E6070}" dt="2022-11-23T22:52:08.518" v="3807" actId="165"/>
          <ac:picMkLst>
            <pc:docMk/>
            <pc:sldMk cId="3871465549" sldId="274"/>
            <ac:picMk id="30" creationId="{9D5914E5-7A67-4D15-97F3-0DA840C79A43}"/>
          </ac:picMkLst>
        </pc:picChg>
        <pc:cxnChg chg="del mod ord">
          <ac:chgData name="Enric Mus Catala" userId="d65d4634-8e16-47e9-87ba-a549cc891999" providerId="ADAL" clId="{583CEA4F-D930-406D-8F4D-AEC51A1E6070}" dt="2022-11-23T22:49:07.582" v="3722" actId="478"/>
          <ac:cxnSpMkLst>
            <pc:docMk/>
            <pc:sldMk cId="3871465549" sldId="274"/>
            <ac:cxnSpMk id="7" creationId="{F1111ED5-F987-4641-AAFA-63AADA446C73}"/>
          </ac:cxnSpMkLst>
        </pc:cxnChg>
      </pc:sldChg>
      <pc:sldChg chg="addSp delSp modSp add mod modTransition modShow">
        <pc:chgData name="Enric Mus Catala" userId="d65d4634-8e16-47e9-87ba-a549cc891999" providerId="ADAL" clId="{583CEA4F-D930-406D-8F4D-AEC51A1E6070}" dt="2022-11-24T00:23:33.563" v="4314" actId="1076"/>
        <pc:sldMkLst>
          <pc:docMk/>
          <pc:sldMk cId="3410549081" sldId="275"/>
        </pc:sldMkLst>
        <pc:spChg chg="mod ord">
          <ac:chgData name="Enric Mus Catala" userId="d65d4634-8e16-47e9-87ba-a549cc891999" providerId="ADAL" clId="{583CEA4F-D930-406D-8F4D-AEC51A1E6070}" dt="2022-11-24T00:20:28.209" v="4228"/>
          <ac:spMkLst>
            <pc:docMk/>
            <pc:sldMk cId="3410549081" sldId="275"/>
            <ac:spMk id="2" creationId="{9AB591CE-E7CD-4793-B511-01EEF4704C68}"/>
          </ac:spMkLst>
        </pc:spChg>
        <pc:spChg chg="mod ord">
          <ac:chgData name="Enric Mus Catala" userId="d65d4634-8e16-47e9-87ba-a549cc891999" providerId="ADAL" clId="{583CEA4F-D930-406D-8F4D-AEC51A1E6070}" dt="2022-11-24T00:21:32.217" v="4263" actId="2085"/>
          <ac:spMkLst>
            <pc:docMk/>
            <pc:sldMk cId="3410549081" sldId="275"/>
            <ac:spMk id="5" creationId="{F4FD2A65-820F-4A84-8B37-32703528B3F9}"/>
          </ac:spMkLst>
        </pc:spChg>
        <pc:spChg chg="add del mod modVis">
          <ac:chgData name="Enric Mus Catala" userId="d65d4634-8e16-47e9-87ba-a549cc891999" providerId="ADAL" clId="{583CEA4F-D930-406D-8F4D-AEC51A1E6070}" dt="2022-11-24T00:17:18.880" v="4175"/>
          <ac:spMkLst>
            <pc:docMk/>
            <pc:sldMk cId="3410549081" sldId="275"/>
            <ac:spMk id="15" creationId="{F730B9CE-3329-4071-BDEF-C709374501DC}"/>
          </ac:spMkLst>
        </pc:spChg>
        <pc:spChg chg="mod ord">
          <ac:chgData name="Enric Mus Catala" userId="d65d4634-8e16-47e9-87ba-a549cc891999" providerId="ADAL" clId="{583CEA4F-D930-406D-8F4D-AEC51A1E6070}" dt="2022-11-24T00:20:28.209" v="4230"/>
          <ac:spMkLst>
            <pc:docMk/>
            <pc:sldMk cId="3410549081" sldId="275"/>
            <ac:spMk id="17" creationId="{B4CA9A8E-E978-4055-AEEB-A94B7C4A4DD0}"/>
          </ac:spMkLst>
        </pc:spChg>
        <pc:grpChg chg="add del mod">
          <ac:chgData name="Enric Mus Catala" userId="d65d4634-8e16-47e9-87ba-a549cc891999" providerId="ADAL" clId="{583CEA4F-D930-406D-8F4D-AEC51A1E6070}" dt="2022-11-24T00:22:42.504" v="4276" actId="165"/>
          <ac:grpSpMkLst>
            <pc:docMk/>
            <pc:sldMk cId="3410549081" sldId="275"/>
            <ac:grpSpMk id="16" creationId="{E09F6326-07C3-4426-B0B9-7FF202AB0698}"/>
          </ac:grpSpMkLst>
        </pc:grpChg>
        <pc:graphicFrameChg chg="mod">
          <ac:chgData name="Enric Mus Catala" userId="d65d4634-8e16-47e9-87ba-a549cc891999" providerId="ADAL" clId="{583CEA4F-D930-406D-8F4D-AEC51A1E6070}" dt="2022-11-24T00:20:28.209" v="4243"/>
          <ac:graphicFrameMkLst>
            <pc:docMk/>
            <pc:sldMk cId="3410549081" sldId="275"/>
            <ac:graphicFrameMk id="7" creationId="{0F736897-BFA9-41AC-9FCD-17A27AC24D30}"/>
          </ac:graphicFrameMkLst>
        </pc:graphicFrameChg>
        <pc:picChg chg="add del mod">
          <ac:chgData name="Enric Mus Catala" userId="d65d4634-8e16-47e9-87ba-a549cc891999" providerId="ADAL" clId="{583CEA4F-D930-406D-8F4D-AEC51A1E6070}" dt="2022-11-24T00:15:10.934" v="4104" actId="478"/>
          <ac:picMkLst>
            <pc:docMk/>
            <pc:sldMk cId="3410549081" sldId="275"/>
            <ac:picMk id="4" creationId="{C99C6C1C-8B85-4467-8C26-217984322F45}"/>
          </ac:picMkLst>
        </pc:picChg>
        <pc:picChg chg="add mod ord topLvl modCrop">
          <ac:chgData name="Enric Mus Catala" userId="d65d4634-8e16-47e9-87ba-a549cc891999" providerId="ADAL" clId="{583CEA4F-D930-406D-8F4D-AEC51A1E6070}" dt="2022-11-24T00:23:31.738" v="4313" actId="1076"/>
          <ac:picMkLst>
            <pc:docMk/>
            <pc:sldMk cId="3410549081" sldId="275"/>
            <ac:picMk id="8" creationId="{DDE8D027-F214-478D-93C3-467DB11E670A}"/>
          </ac:picMkLst>
        </pc:picChg>
        <pc:picChg chg="add mod ord topLvl modCrop">
          <ac:chgData name="Enric Mus Catala" userId="d65d4634-8e16-47e9-87ba-a549cc891999" providerId="ADAL" clId="{583CEA4F-D930-406D-8F4D-AEC51A1E6070}" dt="2022-11-24T00:23:33.563" v="4314" actId="1076"/>
          <ac:picMkLst>
            <pc:docMk/>
            <pc:sldMk cId="3410549081" sldId="275"/>
            <ac:picMk id="10" creationId="{148D731C-5A25-4B46-8925-BA6BEF133883}"/>
          </ac:picMkLst>
        </pc:picChg>
        <pc:picChg chg="add del mod ord topLvl modCrop">
          <ac:chgData name="Enric Mus Catala" userId="d65d4634-8e16-47e9-87ba-a549cc891999" providerId="ADAL" clId="{583CEA4F-D930-406D-8F4D-AEC51A1E6070}" dt="2022-11-24T00:23:16.504" v="4282" actId="478"/>
          <ac:picMkLst>
            <pc:docMk/>
            <pc:sldMk cId="3410549081" sldId="275"/>
            <ac:picMk id="12" creationId="{BEC0E572-CA30-4463-B266-4C6C6D3B2640}"/>
          </ac:picMkLst>
        </pc:picChg>
        <pc:picChg chg="add del mod ord topLvl modCrop">
          <ac:chgData name="Enric Mus Catala" userId="d65d4634-8e16-47e9-87ba-a549cc891999" providerId="ADAL" clId="{583CEA4F-D930-406D-8F4D-AEC51A1E6070}" dt="2022-11-24T00:23:16.852" v="4283" actId="478"/>
          <ac:picMkLst>
            <pc:docMk/>
            <pc:sldMk cId="3410549081" sldId="275"/>
            <ac:picMk id="14" creationId="{7AE31998-65D9-4F71-A99C-313D2B5B81A0}"/>
          </ac:picMkLst>
        </pc:picChg>
        <pc:picChg chg="add del mod">
          <ac:chgData name="Enric Mus Catala" userId="d65d4634-8e16-47e9-87ba-a549cc891999" providerId="ADAL" clId="{583CEA4F-D930-406D-8F4D-AEC51A1E6070}" dt="2022-11-24T00:20:01.733" v="4216" actId="478"/>
          <ac:picMkLst>
            <pc:docMk/>
            <pc:sldMk cId="3410549081" sldId="275"/>
            <ac:picMk id="18" creationId="{45329592-35E7-45C4-975E-62BCCB69976B}"/>
          </ac:picMkLst>
        </pc:picChg>
        <pc:picChg chg="add del mod">
          <ac:chgData name="Enric Mus Catala" userId="d65d4634-8e16-47e9-87ba-a549cc891999" providerId="ADAL" clId="{583CEA4F-D930-406D-8F4D-AEC51A1E6070}" dt="2022-11-24T00:20:01.733" v="4216" actId="478"/>
          <ac:picMkLst>
            <pc:docMk/>
            <pc:sldMk cId="3410549081" sldId="275"/>
            <ac:picMk id="19" creationId="{A5ECFF92-C362-4DBB-A071-A3446A073CA6}"/>
          </ac:picMkLst>
        </pc:picChg>
        <pc:picChg chg="add del mod">
          <ac:chgData name="Enric Mus Catala" userId="d65d4634-8e16-47e9-87ba-a549cc891999" providerId="ADAL" clId="{583CEA4F-D930-406D-8F4D-AEC51A1E6070}" dt="2022-11-24T00:20:56.698" v="4256" actId="478"/>
          <ac:picMkLst>
            <pc:docMk/>
            <pc:sldMk cId="3410549081" sldId="275"/>
            <ac:picMk id="20" creationId="{F79DFBE1-D7EB-4DCE-90BD-57A7CD12223E}"/>
          </ac:picMkLst>
        </pc:picChg>
        <pc:picChg chg="add del mod">
          <ac:chgData name="Enric Mus Catala" userId="d65d4634-8e16-47e9-87ba-a549cc891999" providerId="ADAL" clId="{583CEA4F-D930-406D-8F4D-AEC51A1E6070}" dt="2022-11-24T00:20:56.698" v="4256" actId="478"/>
          <ac:picMkLst>
            <pc:docMk/>
            <pc:sldMk cId="3410549081" sldId="275"/>
            <ac:picMk id="21" creationId="{2562C7F8-8AB0-4FE0-AE32-6247EA6CDAD8}"/>
          </ac:picMkLst>
        </pc:picChg>
        <pc:picChg chg="add del mod">
          <ac:chgData name="Enric Mus Catala" userId="d65d4634-8e16-47e9-87ba-a549cc891999" providerId="ADAL" clId="{583CEA4F-D930-406D-8F4D-AEC51A1E6070}" dt="2022-11-24T00:20:56.698" v="4256" actId="478"/>
          <ac:picMkLst>
            <pc:docMk/>
            <pc:sldMk cId="3410549081" sldId="275"/>
            <ac:picMk id="22" creationId="{665FB7C6-20D9-40D3-A865-86171D9E6C15}"/>
          </ac:picMkLst>
        </pc:picChg>
        <pc:picChg chg="add del mod">
          <ac:chgData name="Enric Mus Catala" userId="d65d4634-8e16-47e9-87ba-a549cc891999" providerId="ADAL" clId="{583CEA4F-D930-406D-8F4D-AEC51A1E6070}" dt="2022-11-24T00:20:56.698" v="4256" actId="478"/>
          <ac:picMkLst>
            <pc:docMk/>
            <pc:sldMk cId="3410549081" sldId="275"/>
            <ac:picMk id="23" creationId="{79F7EA98-F8AB-42BF-BA97-64EF5CCF9C24}"/>
          </ac:picMkLst>
        </pc:picChg>
      </pc:sldChg>
      <pc:sldChg chg="delSp modSp add mod modTransition modShow">
        <pc:chgData name="Enric Mus Catala" userId="d65d4634-8e16-47e9-87ba-a549cc891999" providerId="ADAL" clId="{583CEA4F-D930-406D-8F4D-AEC51A1E6070}" dt="2022-11-24T00:23:25.894" v="4312" actId="478"/>
        <pc:sldMkLst>
          <pc:docMk/>
          <pc:sldMk cId="3259540258" sldId="277"/>
        </pc:sldMkLst>
        <pc:picChg chg="del mod ord">
          <ac:chgData name="Enric Mus Catala" userId="d65d4634-8e16-47e9-87ba-a549cc891999" providerId="ADAL" clId="{583CEA4F-D930-406D-8F4D-AEC51A1E6070}" dt="2022-11-24T00:23:25.894" v="4312" actId="478"/>
          <ac:picMkLst>
            <pc:docMk/>
            <pc:sldMk cId="3259540258" sldId="277"/>
            <ac:picMk id="8" creationId="{DDE8D027-F214-478D-93C3-467DB11E670A}"/>
          </ac:picMkLst>
        </pc:picChg>
        <pc:picChg chg="del mod ord">
          <ac:chgData name="Enric Mus Catala" userId="d65d4634-8e16-47e9-87ba-a549cc891999" providerId="ADAL" clId="{583CEA4F-D930-406D-8F4D-AEC51A1E6070}" dt="2022-11-24T00:23:25.894" v="4312" actId="478"/>
          <ac:picMkLst>
            <pc:docMk/>
            <pc:sldMk cId="3259540258" sldId="277"/>
            <ac:picMk id="10" creationId="{148D731C-5A25-4B46-8925-BA6BEF133883}"/>
          </ac:picMkLst>
        </pc:picChg>
        <pc:picChg chg="mod ord">
          <ac:chgData name="Enric Mus Catala" userId="d65d4634-8e16-47e9-87ba-a549cc891999" providerId="ADAL" clId="{583CEA4F-D930-406D-8F4D-AEC51A1E6070}" dt="2022-11-24T00:23:21.097" v="4291"/>
          <ac:picMkLst>
            <pc:docMk/>
            <pc:sldMk cId="3259540258" sldId="277"/>
            <ac:picMk id="12" creationId="{BEC0E572-CA30-4463-B266-4C6C6D3B2640}"/>
          </ac:picMkLst>
        </pc:picChg>
        <pc:picChg chg="mod ord">
          <ac:chgData name="Enric Mus Catala" userId="d65d4634-8e16-47e9-87ba-a549cc891999" providerId="ADAL" clId="{583CEA4F-D930-406D-8F4D-AEC51A1E6070}" dt="2022-11-24T00:23:23.749" v="4311"/>
          <ac:picMkLst>
            <pc:docMk/>
            <pc:sldMk cId="3259540258" sldId="277"/>
            <ac:picMk id="14" creationId="{7AE31998-65D9-4F71-A99C-313D2B5B81A0}"/>
          </ac:picMkLst>
        </pc:picChg>
      </pc:sldChg>
      <pc:sldChg chg="addSp delSp modSp add mod">
        <pc:chgData name="Enric Mus Catala" userId="d65d4634-8e16-47e9-87ba-a549cc891999" providerId="ADAL" clId="{583CEA4F-D930-406D-8F4D-AEC51A1E6070}" dt="2022-11-24T15:54:42.459" v="4862" actId="20577"/>
        <pc:sldMkLst>
          <pc:docMk/>
          <pc:sldMk cId="3344740381" sldId="278"/>
        </pc:sldMkLst>
        <pc:spChg chg="mod ord">
          <ac:chgData name="Enric Mus Catala" userId="d65d4634-8e16-47e9-87ba-a549cc891999" providerId="ADAL" clId="{583CEA4F-D930-406D-8F4D-AEC51A1E6070}" dt="2022-11-24T00:29:10.717" v="4466"/>
          <ac:spMkLst>
            <pc:docMk/>
            <pc:sldMk cId="3344740381" sldId="278"/>
            <ac:spMk id="2" creationId="{9AB591CE-E7CD-4793-B511-01EEF4704C68}"/>
          </ac:spMkLst>
        </pc:spChg>
        <pc:spChg chg="mod ord">
          <ac:chgData name="Enric Mus Catala" userId="d65d4634-8e16-47e9-87ba-a549cc891999" providerId="ADAL" clId="{583CEA4F-D930-406D-8F4D-AEC51A1E6070}" dt="2022-11-24T00:32:05.953" v="4553" actId="1036"/>
          <ac:spMkLst>
            <pc:docMk/>
            <pc:sldMk cId="3344740381" sldId="278"/>
            <ac:spMk id="5" creationId="{F4FD2A65-820F-4A84-8B37-32703528B3F9}"/>
          </ac:spMkLst>
        </pc:spChg>
        <pc:spChg chg="add mod ord">
          <ac:chgData name="Enric Mus Catala" userId="d65d4634-8e16-47e9-87ba-a549cc891999" providerId="ADAL" clId="{583CEA4F-D930-406D-8F4D-AEC51A1E6070}" dt="2022-11-24T15:54:42.459" v="4862" actId="20577"/>
          <ac:spMkLst>
            <pc:docMk/>
            <pc:sldMk cId="3344740381" sldId="278"/>
            <ac:spMk id="10" creationId="{0FD1EAA4-2008-4040-A971-363FD16E75F0}"/>
          </ac:spMkLst>
        </pc:spChg>
        <pc:spChg chg="add mod ord">
          <ac:chgData name="Enric Mus Catala" userId="d65d4634-8e16-47e9-87ba-a549cc891999" providerId="ADAL" clId="{583CEA4F-D930-406D-8F4D-AEC51A1E6070}" dt="2022-11-24T00:32:33.718" v="4563" actId="164"/>
          <ac:spMkLst>
            <pc:docMk/>
            <pc:sldMk cId="3344740381" sldId="278"/>
            <ac:spMk id="13" creationId="{4F8F913D-ABC8-469A-927C-2E7AFF120231}"/>
          </ac:spMkLst>
        </pc:spChg>
        <pc:spChg chg="add del mod modVis">
          <ac:chgData name="Enric Mus Catala" userId="d65d4634-8e16-47e9-87ba-a549cc891999" providerId="ADAL" clId="{583CEA4F-D930-406D-8F4D-AEC51A1E6070}" dt="2022-11-24T00:29:10.717" v="4477"/>
          <ac:spMkLst>
            <pc:docMk/>
            <pc:sldMk cId="3344740381" sldId="278"/>
            <ac:spMk id="15" creationId="{1AD335C2-D94F-4999-AD49-92FB4DB83E34}"/>
          </ac:spMkLst>
        </pc:spChg>
        <pc:spChg chg="mod ord">
          <ac:chgData name="Enric Mus Catala" userId="d65d4634-8e16-47e9-87ba-a549cc891999" providerId="ADAL" clId="{583CEA4F-D930-406D-8F4D-AEC51A1E6070}" dt="2022-11-24T00:29:10.717" v="4468"/>
          <ac:spMkLst>
            <pc:docMk/>
            <pc:sldMk cId="3344740381" sldId="278"/>
            <ac:spMk id="17" creationId="{B4CA9A8E-E978-4055-AEEB-A94B7C4A4DD0}"/>
          </ac:spMkLst>
        </pc:spChg>
        <pc:grpChg chg="add mod">
          <ac:chgData name="Enric Mus Catala" userId="d65d4634-8e16-47e9-87ba-a549cc891999" providerId="ADAL" clId="{583CEA4F-D930-406D-8F4D-AEC51A1E6070}" dt="2022-11-24T00:29:19.779" v="4490"/>
          <ac:grpSpMkLst>
            <pc:docMk/>
            <pc:sldMk cId="3344740381" sldId="278"/>
            <ac:grpSpMk id="3" creationId="{A60C63C1-0B0D-43D8-85FF-921FF153FD5F}"/>
          </ac:grpSpMkLst>
        </pc:grpChg>
        <pc:grpChg chg="add mod">
          <ac:chgData name="Enric Mus Catala" userId="d65d4634-8e16-47e9-87ba-a549cc891999" providerId="ADAL" clId="{583CEA4F-D930-406D-8F4D-AEC51A1E6070}" dt="2022-11-24T00:29:19.779" v="4490"/>
          <ac:grpSpMkLst>
            <pc:docMk/>
            <pc:sldMk cId="3344740381" sldId="278"/>
            <ac:grpSpMk id="4" creationId="{009D7DFE-8F02-441D-8EEA-3C5337146B2F}"/>
          </ac:grpSpMkLst>
        </pc:grpChg>
        <pc:grpChg chg="add mod ord">
          <ac:chgData name="Enric Mus Catala" userId="d65d4634-8e16-47e9-87ba-a549cc891999" providerId="ADAL" clId="{583CEA4F-D930-406D-8F4D-AEC51A1E6070}" dt="2022-11-24T00:32:33.718" v="4563" actId="164"/>
          <ac:grpSpMkLst>
            <pc:docMk/>
            <pc:sldMk cId="3344740381" sldId="278"/>
            <ac:grpSpMk id="6" creationId="{352BAF2F-2A56-4B83-97CB-D34027573823}"/>
          </ac:grpSpMkLst>
        </pc:grpChg>
        <pc:grpChg chg="add mod">
          <ac:chgData name="Enric Mus Catala" userId="d65d4634-8e16-47e9-87ba-a549cc891999" providerId="ADAL" clId="{583CEA4F-D930-406D-8F4D-AEC51A1E6070}" dt="2022-11-24T00:32:52.378" v="4570" actId="1076"/>
          <ac:grpSpMkLst>
            <pc:docMk/>
            <pc:sldMk cId="3344740381" sldId="278"/>
            <ac:grpSpMk id="16" creationId="{4CEDACEF-5AD3-4B03-A24D-D0A259699B8D}"/>
          </ac:grpSpMkLst>
        </pc:grpChg>
        <pc:graphicFrameChg chg="mod">
          <ac:chgData name="Enric Mus Catala" userId="d65d4634-8e16-47e9-87ba-a549cc891999" providerId="ADAL" clId="{583CEA4F-D930-406D-8F4D-AEC51A1E6070}" dt="2022-11-24T00:29:10.717" v="4479"/>
          <ac:graphicFrameMkLst>
            <pc:docMk/>
            <pc:sldMk cId="3344740381" sldId="278"/>
            <ac:graphicFrameMk id="7" creationId="{0F736897-BFA9-41AC-9FCD-17A27AC24D30}"/>
          </ac:graphicFrameMkLst>
        </pc:graphicFrameChg>
        <pc:picChg chg="add mod modCrop">
          <ac:chgData name="Enric Mus Catala" userId="d65d4634-8e16-47e9-87ba-a549cc891999" providerId="ADAL" clId="{583CEA4F-D930-406D-8F4D-AEC51A1E6070}" dt="2022-11-24T00:29:19.779" v="4490"/>
          <ac:picMkLst>
            <pc:docMk/>
            <pc:sldMk cId="3344740381" sldId="278"/>
            <ac:picMk id="8" creationId="{7DC8CEDB-0BED-4D29-B165-0D40020D35E8}"/>
          </ac:picMkLst>
        </pc:picChg>
        <pc:picChg chg="add del mod">
          <ac:chgData name="Enric Mus Catala" userId="d65d4634-8e16-47e9-87ba-a549cc891999" providerId="ADAL" clId="{583CEA4F-D930-406D-8F4D-AEC51A1E6070}" dt="2022-11-24T00:24:55.438" v="4328" actId="478"/>
          <ac:picMkLst>
            <pc:docMk/>
            <pc:sldMk cId="3344740381" sldId="278"/>
            <ac:picMk id="9" creationId="{780382FD-E587-4CF9-94FB-8BA17B32F96B}"/>
          </ac:picMkLst>
        </pc:picChg>
        <pc:picChg chg="add mod">
          <ac:chgData name="Enric Mus Catala" userId="d65d4634-8e16-47e9-87ba-a549cc891999" providerId="ADAL" clId="{583CEA4F-D930-406D-8F4D-AEC51A1E6070}" dt="2022-11-24T00:29:19.779" v="4490"/>
          <ac:picMkLst>
            <pc:docMk/>
            <pc:sldMk cId="3344740381" sldId="278"/>
            <ac:picMk id="11" creationId="{84963805-6C86-49F3-9363-AA2A23CFCB97}"/>
          </ac:picMkLst>
        </pc:picChg>
        <pc:picChg chg="mod">
          <ac:chgData name="Enric Mus Catala" userId="d65d4634-8e16-47e9-87ba-a549cc891999" providerId="ADAL" clId="{583CEA4F-D930-406D-8F4D-AEC51A1E6070}" dt="2022-11-24T00:30:17.254" v="4498" actId="14100"/>
          <ac:picMkLst>
            <pc:docMk/>
            <pc:sldMk cId="3344740381" sldId="278"/>
            <ac:picMk id="12" creationId="{BEC0E572-CA30-4463-B266-4C6C6D3B2640}"/>
          </ac:picMkLst>
        </pc:picChg>
        <pc:picChg chg="mod">
          <ac:chgData name="Enric Mus Catala" userId="d65d4634-8e16-47e9-87ba-a549cc891999" providerId="ADAL" clId="{583CEA4F-D930-406D-8F4D-AEC51A1E6070}" dt="2022-11-24T00:29:19.779" v="4490"/>
          <ac:picMkLst>
            <pc:docMk/>
            <pc:sldMk cId="3344740381" sldId="278"/>
            <ac:picMk id="14" creationId="{7AE31998-65D9-4F71-A99C-313D2B5B81A0}"/>
          </ac:picMkLst>
        </pc:picChg>
      </pc:sldChg>
      <pc:sldChg chg="add del">
        <pc:chgData name="Enric Mus Catala" userId="d65d4634-8e16-47e9-87ba-a549cc891999" providerId="ADAL" clId="{583CEA4F-D930-406D-8F4D-AEC51A1E6070}" dt="2022-11-24T00:24:16.460" v="4317" actId="2696"/>
        <pc:sldMkLst>
          <pc:docMk/>
          <pc:sldMk cId="1533216659" sldId="279"/>
        </pc:sldMkLst>
      </pc:sldChg>
      <pc:sldChg chg="modSp mod">
        <pc:chgData name="Enric Mus Catala" userId="d65d4634-8e16-47e9-87ba-a549cc891999" providerId="ADAL" clId="{583CEA4F-D930-406D-8F4D-AEC51A1E6070}" dt="2022-11-24T15:44:31.310" v="4823" actId="114"/>
        <pc:sldMkLst>
          <pc:docMk/>
          <pc:sldMk cId="2558444918" sldId="279"/>
        </pc:sldMkLst>
        <pc:spChg chg="mod">
          <ac:chgData name="Enric Mus Catala" userId="d65d4634-8e16-47e9-87ba-a549cc891999" providerId="ADAL" clId="{583CEA4F-D930-406D-8F4D-AEC51A1E6070}" dt="2022-11-24T15:07:14.811" v="4800" actId="20577"/>
          <ac:spMkLst>
            <pc:docMk/>
            <pc:sldMk cId="2558444918" sldId="279"/>
            <ac:spMk id="19" creationId="{0B9CC083-2B36-42B8-B61C-32358B623C83}"/>
          </ac:spMkLst>
        </pc:spChg>
        <pc:spChg chg="mod">
          <ac:chgData name="Enric Mus Catala" userId="d65d4634-8e16-47e9-87ba-a549cc891999" providerId="ADAL" clId="{583CEA4F-D930-406D-8F4D-AEC51A1E6070}" dt="2022-11-24T15:44:31.310" v="4823" actId="114"/>
          <ac:spMkLst>
            <pc:docMk/>
            <pc:sldMk cId="2558444918" sldId="279"/>
            <ac:spMk id="25" creationId="{D610286F-8F5A-4E2B-ACA1-B7C7E890C5B7}"/>
          </ac:spMkLst>
        </pc:spChg>
        <pc:spChg chg="mod">
          <ac:chgData name="Enric Mus Catala" userId="d65d4634-8e16-47e9-87ba-a549cc891999" providerId="ADAL" clId="{583CEA4F-D930-406D-8F4D-AEC51A1E6070}" dt="2022-11-24T15:44:12.726" v="4821" actId="20577"/>
          <ac:spMkLst>
            <pc:docMk/>
            <pc:sldMk cId="2558444918" sldId="279"/>
            <ac:spMk id="27" creationId="{70B93D4B-BE7D-4BED-B867-CA3D1D0486CD}"/>
          </ac:spMkLst>
        </pc:spChg>
        <pc:spChg chg="mod">
          <ac:chgData name="Enric Mus Catala" userId="d65d4634-8e16-47e9-87ba-a549cc891999" providerId="ADAL" clId="{583CEA4F-D930-406D-8F4D-AEC51A1E6070}" dt="2022-11-24T15:43:57.232" v="4815" actId="3064"/>
          <ac:spMkLst>
            <pc:docMk/>
            <pc:sldMk cId="2558444918" sldId="279"/>
            <ac:spMk id="29" creationId="{FBEFC316-6569-4FA2-B596-0183F5054ACA}"/>
          </ac:spMkLst>
        </pc:spChg>
        <pc:spChg chg="mod">
          <ac:chgData name="Enric Mus Catala" userId="d65d4634-8e16-47e9-87ba-a549cc891999" providerId="ADAL" clId="{583CEA4F-D930-406D-8F4D-AEC51A1E6070}" dt="2022-11-24T15:06:55.830" v="4781" actId="20577"/>
          <ac:spMkLst>
            <pc:docMk/>
            <pc:sldMk cId="2558444918" sldId="279"/>
            <ac:spMk id="40" creationId="{BB53CB25-D235-47A6-A494-2EE78D2ABDFC}"/>
          </ac:spMkLst>
        </pc:spChg>
      </pc:sldChg>
      <pc:sldChg chg="delSp add mod">
        <pc:chgData name="Enric Mus Catala" userId="d65d4634-8e16-47e9-87ba-a549cc891999" providerId="ADAL" clId="{583CEA4F-D930-406D-8F4D-AEC51A1E6070}" dt="2022-11-24T00:33:09.827" v="4575" actId="478"/>
        <pc:sldMkLst>
          <pc:docMk/>
          <pc:sldMk cId="3709471831" sldId="279"/>
        </pc:sldMkLst>
        <pc:grpChg chg="del">
          <ac:chgData name="Enric Mus Catala" userId="d65d4634-8e16-47e9-87ba-a549cc891999" providerId="ADAL" clId="{583CEA4F-D930-406D-8F4D-AEC51A1E6070}" dt="2022-11-24T00:33:09.827" v="4575" actId="478"/>
          <ac:grpSpMkLst>
            <pc:docMk/>
            <pc:sldMk cId="3709471831" sldId="279"/>
            <ac:grpSpMk id="16" creationId="{4CEDACEF-5AD3-4B03-A24D-D0A259699B8D}"/>
          </ac:grpSpMkLst>
        </pc:grpChg>
      </pc:sldChg>
      <pc:sldChg chg="addSp delSp modSp new add mod">
        <pc:chgData name="Enric Mus Catala" userId="d65d4634-8e16-47e9-87ba-a549cc891999" providerId="ADAL" clId="{583CEA4F-D930-406D-8F4D-AEC51A1E6070}" dt="2022-11-24T14:33:07.811" v="4586" actId="1076"/>
        <pc:sldMkLst>
          <pc:docMk/>
          <pc:sldMk cId="1094298324" sldId="281"/>
        </pc:sldMkLst>
        <pc:spChg chg="del">
          <ac:chgData name="Enric Mus Catala" userId="d65d4634-8e16-47e9-87ba-a549cc891999" providerId="ADAL" clId="{583CEA4F-D930-406D-8F4D-AEC51A1E6070}" dt="2022-11-24T14:28:42.411" v="4578" actId="478"/>
          <ac:spMkLst>
            <pc:docMk/>
            <pc:sldMk cId="1094298324" sldId="281"/>
            <ac:spMk id="3" creationId="{B258C2C2-A6D5-46B6-825C-F2ECF24DF5DA}"/>
          </ac:spMkLst>
        </pc:spChg>
        <pc:picChg chg="add mod">
          <ac:chgData name="Enric Mus Catala" userId="d65d4634-8e16-47e9-87ba-a549cc891999" providerId="ADAL" clId="{583CEA4F-D930-406D-8F4D-AEC51A1E6070}" dt="2022-11-24T14:28:49.096" v="4582" actId="1076"/>
          <ac:picMkLst>
            <pc:docMk/>
            <pc:sldMk cId="1094298324" sldId="281"/>
            <ac:picMk id="6" creationId="{9F5A4A4C-FA86-45EC-8ED1-01E28D53B13D}"/>
          </ac:picMkLst>
        </pc:picChg>
        <pc:picChg chg="add mod">
          <ac:chgData name="Enric Mus Catala" userId="d65d4634-8e16-47e9-87ba-a549cc891999" providerId="ADAL" clId="{583CEA4F-D930-406D-8F4D-AEC51A1E6070}" dt="2022-11-24T14:33:07.811" v="4586" actId="1076"/>
          <ac:picMkLst>
            <pc:docMk/>
            <pc:sldMk cId="1094298324" sldId="281"/>
            <ac:picMk id="14" creationId="{55BDF688-7891-4B16-AA15-15BB86362B66}"/>
          </ac:picMkLst>
        </pc:picChg>
      </pc:sldChg>
      <pc:sldChg chg="addSp delSp modSp new add del mod ord modTransition modShow">
        <pc:chgData name="Enric Mus Catala" userId="d65d4634-8e16-47e9-87ba-a549cc891999" providerId="ADAL" clId="{583CEA4F-D930-406D-8F4D-AEC51A1E6070}" dt="2022-11-24T16:18:42.811" v="5029" actId="2696"/>
        <pc:sldMkLst>
          <pc:docMk/>
          <pc:sldMk cId="2274357867" sldId="282"/>
        </pc:sldMkLst>
        <pc:spChg chg="del">
          <ac:chgData name="Enric Mus Catala" userId="d65d4634-8e16-47e9-87ba-a549cc891999" providerId="ADAL" clId="{583CEA4F-D930-406D-8F4D-AEC51A1E6070}" dt="2022-11-24T14:33:34.505" v="4590" actId="478"/>
          <ac:spMkLst>
            <pc:docMk/>
            <pc:sldMk cId="2274357867" sldId="282"/>
            <ac:spMk id="2" creationId="{9C22D732-1D5F-4167-A3E8-189CD4EFBBD3}"/>
          </ac:spMkLst>
        </pc:spChg>
        <pc:spChg chg="del">
          <ac:chgData name="Enric Mus Catala" userId="d65d4634-8e16-47e9-87ba-a549cc891999" providerId="ADAL" clId="{583CEA4F-D930-406D-8F4D-AEC51A1E6070}" dt="2022-11-24T14:33:32.403" v="4589" actId="478"/>
          <ac:spMkLst>
            <pc:docMk/>
            <pc:sldMk cId="2274357867" sldId="282"/>
            <ac:spMk id="3" creationId="{4EFFDF3D-8366-42DD-97CE-7AC5DB97B60E}"/>
          </ac:spMkLst>
        </pc:spChg>
        <pc:spChg chg="mod ord">
          <ac:chgData name="Enric Mus Catala" userId="d65d4634-8e16-47e9-87ba-a549cc891999" providerId="ADAL" clId="{583CEA4F-D930-406D-8F4D-AEC51A1E6070}" dt="2022-11-24T14:53:17.949" v="4672"/>
          <ac:spMkLst>
            <pc:docMk/>
            <pc:sldMk cId="2274357867" sldId="282"/>
            <ac:spMk id="4" creationId="{A2D53338-79B2-4E51-B00A-57061987FCA6}"/>
          </ac:spMkLst>
        </pc:spChg>
        <pc:graphicFrameChg chg="add mod ord modVis replST">
          <ac:chgData name="Enric Mus Catala" userId="d65d4634-8e16-47e9-87ba-a549cc891999" providerId="ADAL" clId="{583CEA4F-D930-406D-8F4D-AEC51A1E6070}" dt="2022-11-24T14:53:17.957" v="4691"/>
          <ac:graphicFrameMkLst>
            <pc:docMk/>
            <pc:sldMk cId="2274357867" sldId="282"/>
            <ac:graphicFrameMk id="5" creationId="{FC49ACF5-43A3-4F7B-84B3-E246D2F033C3}"/>
          </ac:graphicFrameMkLst>
        </pc:graphicFrameChg>
        <pc:picChg chg="add mod ord">
          <ac:chgData name="Enric Mus Catala" userId="d65d4634-8e16-47e9-87ba-a549cc891999" providerId="ADAL" clId="{583CEA4F-D930-406D-8F4D-AEC51A1E6070}" dt="2022-11-24T14:53:17.950" v="4674"/>
          <ac:picMkLst>
            <pc:docMk/>
            <pc:sldMk cId="2274357867" sldId="282"/>
            <ac:picMk id="6" creationId="{4001457A-7BFD-4021-BC8C-708E8CC35CE6}"/>
          </ac:picMkLst>
        </pc:picChg>
        <pc:picChg chg="add mod ord">
          <ac:chgData name="Enric Mus Catala" userId="d65d4634-8e16-47e9-87ba-a549cc891999" providerId="ADAL" clId="{583CEA4F-D930-406D-8F4D-AEC51A1E6070}" dt="2022-11-24T14:53:17.950" v="4676"/>
          <ac:picMkLst>
            <pc:docMk/>
            <pc:sldMk cId="2274357867" sldId="282"/>
            <ac:picMk id="7" creationId="{96086411-5EC2-444C-8042-FD2065809037}"/>
          </ac:picMkLst>
        </pc:picChg>
        <pc:picChg chg="add mod ord">
          <ac:chgData name="Enric Mus Catala" userId="d65d4634-8e16-47e9-87ba-a549cc891999" providerId="ADAL" clId="{583CEA4F-D930-406D-8F4D-AEC51A1E6070}" dt="2022-11-24T14:53:17.951" v="4678"/>
          <ac:picMkLst>
            <pc:docMk/>
            <pc:sldMk cId="2274357867" sldId="282"/>
            <ac:picMk id="9" creationId="{F760138C-2DCD-4B59-901F-5AFEBBF0DD89}"/>
          </ac:picMkLst>
        </pc:picChg>
        <pc:picChg chg="add mod ord">
          <ac:chgData name="Enric Mus Catala" userId="d65d4634-8e16-47e9-87ba-a549cc891999" providerId="ADAL" clId="{583CEA4F-D930-406D-8F4D-AEC51A1E6070}" dt="2022-11-24T14:53:17.951" v="4680"/>
          <ac:picMkLst>
            <pc:docMk/>
            <pc:sldMk cId="2274357867" sldId="282"/>
            <ac:picMk id="11" creationId="{6BD48A03-77CC-4D7D-B35D-645E0FA37AAE}"/>
          </ac:picMkLst>
        </pc:picChg>
        <pc:picChg chg="add mod ord">
          <ac:chgData name="Enric Mus Catala" userId="d65d4634-8e16-47e9-87ba-a549cc891999" providerId="ADAL" clId="{583CEA4F-D930-406D-8F4D-AEC51A1E6070}" dt="2022-11-24T14:53:17.951" v="4682"/>
          <ac:picMkLst>
            <pc:docMk/>
            <pc:sldMk cId="2274357867" sldId="282"/>
            <ac:picMk id="13" creationId="{78641966-8505-4391-B380-CBF15C2B2F47}"/>
          </ac:picMkLst>
        </pc:picChg>
        <pc:picChg chg="add mod ord">
          <ac:chgData name="Enric Mus Catala" userId="d65d4634-8e16-47e9-87ba-a549cc891999" providerId="ADAL" clId="{583CEA4F-D930-406D-8F4D-AEC51A1E6070}" dt="2022-11-24T14:53:17.951" v="4684"/>
          <ac:picMkLst>
            <pc:docMk/>
            <pc:sldMk cId="2274357867" sldId="282"/>
            <ac:picMk id="15" creationId="{49FABD24-2E61-4E8F-B9CD-F87FF624FA0C}"/>
          </ac:picMkLst>
        </pc:picChg>
        <pc:picChg chg="add mod ord">
          <ac:chgData name="Enric Mus Catala" userId="d65d4634-8e16-47e9-87ba-a549cc891999" providerId="ADAL" clId="{583CEA4F-D930-406D-8F4D-AEC51A1E6070}" dt="2022-11-24T14:53:17.951" v="4686"/>
          <ac:picMkLst>
            <pc:docMk/>
            <pc:sldMk cId="2274357867" sldId="282"/>
            <ac:picMk id="17" creationId="{88D815A0-3A49-40FE-B62D-848B686CC4FB}"/>
          </ac:picMkLst>
        </pc:picChg>
        <pc:picChg chg="add del mod">
          <ac:chgData name="Enric Mus Catala" userId="d65d4634-8e16-47e9-87ba-a549cc891999" providerId="ADAL" clId="{583CEA4F-D930-406D-8F4D-AEC51A1E6070}" dt="2022-11-24T14:52:40.075" v="4660" actId="478"/>
          <ac:picMkLst>
            <pc:docMk/>
            <pc:sldMk cId="2274357867" sldId="282"/>
            <ac:picMk id="19" creationId="{FD3B8CE2-9F75-4CDC-AA98-BDCD7F3B6CBF}"/>
          </ac:picMkLst>
        </pc:picChg>
        <pc:picChg chg="add mod ord">
          <ac:chgData name="Enric Mus Catala" userId="d65d4634-8e16-47e9-87ba-a549cc891999" providerId="ADAL" clId="{583CEA4F-D930-406D-8F4D-AEC51A1E6070}" dt="2022-11-24T14:53:17.952" v="4688"/>
          <ac:picMkLst>
            <pc:docMk/>
            <pc:sldMk cId="2274357867" sldId="282"/>
            <ac:picMk id="21" creationId="{A1D17C48-24D7-4A6E-A834-916637E2E4AE}"/>
          </ac:picMkLst>
        </pc:picChg>
      </pc:sldChg>
      <pc:sldChg chg="addSp modSp new add del mod">
        <pc:chgData name="Enric Mus Catala" userId="d65d4634-8e16-47e9-87ba-a549cc891999" providerId="ADAL" clId="{583CEA4F-D930-406D-8F4D-AEC51A1E6070}" dt="2022-11-24T15:54:06.935" v="4860" actId="2696"/>
        <pc:sldMkLst>
          <pc:docMk/>
          <pc:sldMk cId="1379214873" sldId="283"/>
        </pc:sldMkLst>
        <pc:picChg chg="add mod">
          <ac:chgData name="Enric Mus Catala" userId="d65d4634-8e16-47e9-87ba-a549cc891999" providerId="ADAL" clId="{583CEA4F-D930-406D-8F4D-AEC51A1E6070}" dt="2022-11-24T15:39:55.604" v="4807" actId="14100"/>
          <ac:picMkLst>
            <pc:docMk/>
            <pc:sldMk cId="1379214873" sldId="283"/>
            <ac:picMk id="6" creationId="{8A58785B-5DF7-45BE-97C3-3C20884537EB}"/>
          </ac:picMkLst>
        </pc:picChg>
      </pc:sldChg>
      <pc:sldChg chg="addSp modSp new add mod">
        <pc:chgData name="Enric Mus Catala" userId="d65d4634-8e16-47e9-87ba-a549cc891999" providerId="ADAL" clId="{583CEA4F-D930-406D-8F4D-AEC51A1E6070}" dt="2022-11-24T15:54:02.503" v="4859" actId="14100"/>
        <pc:sldMkLst>
          <pc:docMk/>
          <pc:sldMk cId="1151122441" sldId="284"/>
        </pc:sldMkLst>
        <pc:picChg chg="add mod">
          <ac:chgData name="Enric Mus Catala" userId="d65d4634-8e16-47e9-87ba-a549cc891999" providerId="ADAL" clId="{583CEA4F-D930-406D-8F4D-AEC51A1E6070}" dt="2022-11-24T15:54:02.503" v="4859" actId="14100"/>
          <ac:picMkLst>
            <pc:docMk/>
            <pc:sldMk cId="1151122441" sldId="284"/>
            <ac:picMk id="6" creationId="{6195053C-232D-4FB0-89ED-F7F74B46CF26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B20CF0A-85EA-4731-8265-37DD03F1FF2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35F416-EE61-44F8-858F-89B34E171D6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7AA5BF-72DC-4140-B6EF-CB18C5E7A659}" type="datetimeFigureOut">
              <a:rPr lang="en-GB" smtClean="0"/>
              <a:t>24/11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664CAE-7F6E-42DC-A9DD-D3898B3CB5B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3F54CF-A2C5-4368-B5CA-CD358601F99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F3DDEE-BFB4-4343-BB55-0E02758DDE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77181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s-E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C49E666-DBE6-49C5-B80A-668A92FE46B0}" type="datetimeFigureOut">
              <a:rPr lang="es-ES" smtClean="0"/>
              <a:pPr/>
              <a:t>24/11/2022</a:t>
            </a:fld>
            <a:endParaRPr lang="es-E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  <a:p>
            <a:pPr lvl="1"/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2"/>
            <a:r>
              <a:rPr lang="es-ES" err="1"/>
              <a:t>Thir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3"/>
            <a:r>
              <a:rPr lang="es-ES" err="1"/>
              <a:t>Four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4"/>
            <a:r>
              <a:rPr lang="es-ES" err="1"/>
              <a:t>Fif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1B3D20EC-414D-4E57-BC29-F2491EF40C9D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7828663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3D20EC-414D-4E57-BC29-F2491EF40C9D}" type="slidenum">
              <a:rPr lang="es-ES" smtClean="0"/>
              <a:pPr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142031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3D20EC-414D-4E57-BC29-F2491EF40C9D}" type="slidenum">
              <a:rPr lang="es-ES" smtClean="0"/>
              <a:pPr/>
              <a:t>1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469655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3D20EC-414D-4E57-BC29-F2491EF40C9D}" type="slidenum">
              <a:rPr lang="es-ES" smtClean="0"/>
              <a:pPr/>
              <a:t>1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862693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3D20EC-414D-4E57-BC29-F2491EF40C9D}" type="slidenum">
              <a:rPr lang="es-ES" smtClean="0"/>
              <a:pPr/>
              <a:t>1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883738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3D20EC-414D-4E57-BC29-F2491EF40C9D}" type="slidenum">
              <a:rPr lang="es-ES" smtClean="0"/>
              <a:pPr/>
              <a:t>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692735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3D20EC-414D-4E57-BC29-F2491EF40C9D}" type="slidenum">
              <a:rPr lang="es-ES" smtClean="0"/>
              <a:pPr/>
              <a:t>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994886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3D20EC-414D-4E57-BC29-F2491EF40C9D}" type="slidenum">
              <a:rPr lang="es-ES" smtClean="0"/>
              <a:pPr/>
              <a:t>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265903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3D20EC-414D-4E57-BC29-F2491EF40C9D}" type="slidenum">
              <a:rPr lang="es-ES" smtClean="0"/>
              <a:pPr/>
              <a:t>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833710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3D20EC-414D-4E57-BC29-F2491EF40C9D}" type="slidenum">
              <a:rPr lang="es-ES" smtClean="0"/>
              <a:pPr/>
              <a:t>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913030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3D20EC-414D-4E57-BC29-F2491EF40C9D}" type="slidenum">
              <a:rPr lang="es-ES" smtClean="0"/>
              <a:pPr/>
              <a:t>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546884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3D20EC-414D-4E57-BC29-F2491EF40C9D}" type="slidenum">
              <a:rPr lang="es-ES" smtClean="0"/>
              <a:pPr/>
              <a:t>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03824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3D20EC-414D-4E57-BC29-F2491EF40C9D}" type="slidenum">
              <a:rPr lang="es-ES" smtClean="0"/>
              <a:pPr/>
              <a:t>1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428883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DBBA04C-F090-4D50-8638-032155318A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972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DBBA04C-F090-4D50-8638-032155318A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81E7572-07E9-4488-85C3-452067ACA1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vert="horz" anchor="ctr"/>
          <a:lstStyle>
            <a:lvl1pPr algn="ctr" rtl="0">
              <a:defRPr sz="3000"/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AB51D9-A043-495A-9CD1-6FF4F82038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 rtl="0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sub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pic>
        <p:nvPicPr>
          <p:cNvPr id="13" name="Picture 12" descr="A close up of a keyboard&#10;&#10;Description automatically generated with medium confidence">
            <a:extLst>
              <a:ext uri="{FF2B5EF4-FFF2-40B4-BE49-F238E27FC236}">
                <a16:creationId xmlns:a16="http://schemas.microsoft.com/office/drawing/2014/main" id="{4CDCBF76-F30C-49D2-BDF7-351DE79882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68" b="786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1746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AD6549E-A82E-4E8D-8AA8-88D94B9186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675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AD6549E-A82E-4E8D-8AA8-88D94B9186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0F12AD-D711-4AF1-A626-916206B318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8D9EAB4-81C0-464D-A828-3F5B7D44966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9582DAA-2B0B-4305-8A30-F083DC1664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58FC2BF-C561-4F39-AF22-5FF041DAF9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FC78687-D0CE-4752-BD2B-563ABEAE26A6}" type="datetime1">
              <a:rPr lang="en-GB" smtClean="0"/>
              <a:t>24/11/2022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6248F3-AA85-4BFC-8970-6D5EC3BBE9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BECB65-5606-4A00-BE54-2184F1E7FA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0F2143DE-C839-41A0-A357-A80D44BA564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704297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983858B-FFEC-4060-8BF7-73EABD9309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5567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983858B-FFEC-4060-8BF7-73EABD930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417FBAA-5B6E-47D5-95C3-0F8B2A5C81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B509091-43AF-4A72-8372-9719455396A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  <a:p>
            <a:pPr lvl="1"/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2"/>
            <a:r>
              <a:rPr lang="es-ES" err="1"/>
              <a:t>Thir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3"/>
            <a:r>
              <a:rPr lang="es-ES" err="1"/>
              <a:t>Four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4"/>
            <a:r>
              <a:rPr lang="es-ES" err="1"/>
              <a:t>Fif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0F3178-FCD2-48DE-BBB2-0DDC4945C9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89BB133-265A-4B37-BCFB-6EBD4F0B267D}" type="datetime1">
              <a:rPr lang="en-GB" smtClean="0"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B63CD5-862B-403D-9437-DBE7269564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CBC989-C888-4984-815A-161C02683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0F2143DE-C839-41A0-A357-A80D44BA564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08434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2422D60-54E0-4A9C-ABDD-D8D4218AB1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5423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2422D60-54E0-4A9C-ABDD-D8D4218AB1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>
            <a:extLst>
              <a:ext uri="{FF2B5EF4-FFF2-40B4-BE49-F238E27FC236}">
                <a16:creationId xmlns:a16="http://schemas.microsoft.com/office/drawing/2014/main" id="{A678D80A-46C8-451D-BE3F-194D1BDC464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 rtl="0">
              <a:defRPr/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AC64158-4966-4FE8-BCEB-2B84AAAECF5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  <a:p>
            <a:pPr lvl="1"/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2"/>
            <a:r>
              <a:rPr lang="es-ES" err="1"/>
              <a:t>Thir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3"/>
            <a:r>
              <a:rPr lang="es-ES" err="1"/>
              <a:t>Four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4"/>
            <a:r>
              <a:rPr lang="es-ES" err="1"/>
              <a:t>Fif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65E905-3702-4771-B914-86A942794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6DE185FF-E618-4D4D-A7BB-74CCB1A5B378}" type="datetime1">
              <a:rPr lang="en-GB" smtClean="0"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95B218-12DA-4E0B-8D79-35FD875ADC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A72609-7FC8-4ED8-BCFE-ECCD83B48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0F2143DE-C839-41A0-A357-A80D44BA564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828490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DBBA04C-F090-4D50-8638-032155318A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972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DBBA04C-F090-4D50-8638-032155318A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81E7572-07E9-4488-85C3-452067ACA1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vert="horz" anchor="ctr"/>
          <a:lstStyle>
            <a:lvl1pPr algn="ctr" rtl="0">
              <a:defRPr sz="3000"/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AB51D9-A043-495A-9CD1-6FF4F82038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 rtl="0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sub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pic>
        <p:nvPicPr>
          <p:cNvPr id="5" name="Picture 4" descr="A picture containing sky, outdoor, nature&#10;&#10;Description automatically generated">
            <a:extLst>
              <a:ext uri="{FF2B5EF4-FFF2-40B4-BE49-F238E27FC236}">
                <a16:creationId xmlns:a16="http://schemas.microsoft.com/office/drawing/2014/main" id="{0B6ABAA4-0A8F-4B0D-98FF-11436411B1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05"/>
            <a:ext cx="12192000" cy="6850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9818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B8E6F6C3-BC68-47A3-BCCD-7B4DD3F915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8161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B8E6F6C3-BC68-47A3-BCCD-7B4DD3F915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409377-C078-43AA-A360-AABDE9C1E5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CB074C-146D-48C9-A454-F7D4CEFC1C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  <a:p>
            <a:pPr lvl="1"/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2"/>
            <a:r>
              <a:rPr lang="es-ES" err="1"/>
              <a:t>Thir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3"/>
            <a:r>
              <a:rPr lang="es-ES" err="1"/>
              <a:t>Four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4"/>
            <a:r>
              <a:rPr lang="es-ES" err="1"/>
              <a:t>Fif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CC257F-0533-42DB-AEA9-C36384FA0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3CEE925F-165F-46DB-9183-886EFB28CEDB}" type="datetime1">
              <a:rPr lang="en-GB" smtClean="0"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23FF86-91B4-430D-9782-990CE9E4D7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E17CA7-03DF-4423-86FD-BC6BBC9B0A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0F2143DE-C839-41A0-A357-A80D44BA564F}" type="slidenum">
              <a:rPr lang="es-ES" smtClean="0"/>
              <a:pPr/>
              <a:t>‹#›</a:t>
            </a:fld>
            <a:endParaRPr lang="es-E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2D48E56-6DDD-4DF7-88FE-F5D0EF07644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057289" y="259975"/>
            <a:ext cx="539516" cy="575423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E840B4E-8D88-47B5-B7C7-DA0D7204C5B4}"/>
              </a:ext>
            </a:extLst>
          </p:cNvPr>
          <p:cNvCxnSpPr/>
          <p:nvPr userDrawn="1"/>
        </p:nvCxnSpPr>
        <p:spPr>
          <a:xfrm>
            <a:off x="523875" y="730250"/>
            <a:ext cx="1123950" cy="0"/>
          </a:xfrm>
          <a:prstGeom prst="line">
            <a:avLst/>
          </a:prstGeom>
          <a:ln w="28575">
            <a:solidFill>
              <a:srgbClr val="32C3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59470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96D782B-F28D-45C7-84E9-8CD5AF6C69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3932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96D782B-F28D-45C7-84E9-8CD5AF6C69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040661-DB54-4D4B-839E-C1DFB82A91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 rtl="0">
              <a:defRPr sz="6000"/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46BF97-704A-4C17-8E17-8AB390E3E6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 rtl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ADF769-4F9B-4F3F-B266-1AD18D1082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624E03CC-85D9-4C27-9C5C-A2EB83EC0F88}" type="datetime1">
              <a:rPr lang="en-GB" smtClean="0"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7C852E-28EB-4E1E-8137-000D9CF1B9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36F6D6-4ED8-4517-AC8A-90FCDB55D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0F2143DE-C839-41A0-A357-A80D44BA564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053953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D21981B-ABAC-447C-8725-9858360782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9079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D21981B-ABAC-447C-8725-985836078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DB41E46-50CC-4D5A-AF68-918600AABF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1A8379-3A29-49B0-8D5F-C0291A0A8C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  <a:p>
            <a:pPr lvl="1"/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2"/>
            <a:r>
              <a:rPr lang="es-ES" err="1"/>
              <a:t>Thir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3"/>
            <a:r>
              <a:rPr lang="es-ES" err="1"/>
              <a:t>Four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4"/>
            <a:r>
              <a:rPr lang="es-ES" err="1"/>
              <a:t>Fif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0422C04-06AE-4F62-B9B4-13870154658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  <a:p>
            <a:pPr lvl="1"/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2"/>
            <a:r>
              <a:rPr lang="es-ES" err="1"/>
              <a:t>Thir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3"/>
            <a:r>
              <a:rPr lang="es-ES" err="1"/>
              <a:t>Four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4"/>
            <a:r>
              <a:rPr lang="es-ES" err="1"/>
              <a:t>Fif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E61899E-F637-46CD-A130-F6454D5768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DD86D17-ABB2-4028-88B9-00AF453840FF}" type="datetime1">
              <a:rPr lang="en-GB" smtClean="0"/>
              <a:t>24/11/2022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D1E4D4-E592-44FA-8DBD-E9416C5B5E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B583A4-CB65-434B-AD40-89BDC66A57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0F2143DE-C839-41A0-A357-A80D44BA564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50126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868407EF-5104-4160-9807-371DAC6F1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348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868407EF-5104-4160-9807-371DAC6F1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D7EBBC9-64D2-4AB5-A1CB-8124C2462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A91322-7E24-4A54-892E-757207EAC2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4FA6502-3561-4226-B6F4-C57E09D84CE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  <a:p>
            <a:pPr lvl="1"/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2"/>
            <a:r>
              <a:rPr lang="es-ES" err="1"/>
              <a:t>Thir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3"/>
            <a:r>
              <a:rPr lang="es-ES" err="1"/>
              <a:t>Four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4"/>
            <a:r>
              <a:rPr lang="es-ES" err="1"/>
              <a:t>Fif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6FFD75-9C80-4037-8519-9558EBA7BBA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F861681-BE73-4AE8-BB76-96AA9A10D48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  <a:p>
            <a:pPr lvl="1"/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2"/>
            <a:r>
              <a:rPr lang="es-ES" err="1"/>
              <a:t>Thir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3"/>
            <a:r>
              <a:rPr lang="es-ES" err="1"/>
              <a:t>Four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4"/>
            <a:r>
              <a:rPr lang="es-ES" err="1"/>
              <a:t>Fif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33606C3-DE22-4432-B9C1-2DD89E5E4B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923FF60A-BBA5-4967-A855-127FF619E63F}" type="datetime1">
              <a:rPr lang="en-GB" smtClean="0"/>
              <a:t>24/11/2022</a:t>
            </a:fld>
            <a:endParaRPr lang="es-E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39834A7-063A-48FC-AB1E-60CC57992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2E0D5D6-38AE-453A-BEFB-751393DE90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0F2143DE-C839-41A0-A357-A80D44BA564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572185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BE424-4FEA-4BBE-BA33-C5B299D219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3761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BE424-4FEA-4BBE-BA33-C5B299D21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CE6F40C-635B-4144-AE15-0390EB643B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6026CA-660D-4650-8AA0-0528B102E8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409BC029-0281-4D39-9DB0-007AFAA93A8A}" type="datetime1">
              <a:rPr lang="en-GB" smtClean="0"/>
              <a:t>24/11/2022</a:t>
            </a:fld>
            <a:endParaRPr lang="es-E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541D6B-89E2-4D86-A7A7-6CFB4CA50E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1EFEEE-3079-48AA-93B9-7C761259DD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0F2143DE-C839-41A0-A357-A80D44BA564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14475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rgbClr val="32C3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B4F8434-C18F-4EAB-8590-35B84472FB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7489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B4F8434-C18F-4EAB-8590-35B84472FB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BD09497-8B66-42CE-B9A9-7E89238316FD}"/>
              </a:ext>
            </a:extLst>
          </p:cNvPr>
          <p:cNvSpPr/>
          <p:nvPr userDrawn="1"/>
        </p:nvSpPr>
        <p:spPr>
          <a:xfrm>
            <a:off x="0" y="0"/>
            <a:ext cx="48568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C8C3A39-41EE-4055-925F-0E36B5E64A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1300" y="2002632"/>
            <a:ext cx="7359650" cy="2852737"/>
          </a:xfrm>
        </p:spPr>
        <p:txBody>
          <a:bodyPr vert="horz" anchor="ctr"/>
          <a:lstStyle>
            <a:lvl1pPr algn="ctr" rtl="0">
              <a:defRPr sz="7200">
                <a:solidFill>
                  <a:schemeClr val="bg1"/>
                </a:solidFill>
              </a:defRPr>
            </a:lvl1pPr>
          </a:lstStyle>
          <a:p>
            <a:endParaRPr lang="es-ES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26B4C1D-53A6-4268-80E8-1AF0967000F5}"/>
              </a:ext>
            </a:extLst>
          </p:cNvPr>
          <p:cNvSpPr txBox="1">
            <a:spLocks/>
          </p:cNvSpPr>
          <p:nvPr userDrawn="1"/>
        </p:nvSpPr>
        <p:spPr>
          <a:xfrm>
            <a:off x="1215560" y="2002632"/>
            <a:ext cx="2425700" cy="28527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20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rtl="0"/>
            <a:endParaRPr lang="es-ES">
              <a:solidFill>
                <a:srgbClr val="32C3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3608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B6CAB78-E80F-4229-AFDD-AB1439FC37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6761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B6CAB78-E80F-4229-AFDD-AB1439FC37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8E8AAA8-084B-4DC5-B178-8CFBF81ADC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D3FF1C-949A-47CC-927F-B1EB4B6740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rtl="0">
              <a:defRPr sz="3200"/>
            </a:lvl1pPr>
            <a:lvl2pPr rtl="0">
              <a:defRPr sz="2800"/>
            </a:lvl2pPr>
            <a:lvl3pPr rtl="0">
              <a:defRPr sz="2400"/>
            </a:lvl3pPr>
            <a:lvl4pPr rtl="0">
              <a:defRPr sz="2000"/>
            </a:lvl4pPr>
            <a:lvl5pPr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  <a:p>
            <a:pPr lvl="1"/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2"/>
            <a:r>
              <a:rPr lang="es-ES" err="1"/>
              <a:t>Thir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3"/>
            <a:r>
              <a:rPr lang="es-ES" err="1"/>
              <a:t>Four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4"/>
            <a:r>
              <a:rPr lang="es-ES" err="1"/>
              <a:t>Fif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0417FC-369D-44DE-B4DD-A9D39372A3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02ECD04-658F-466D-B4BA-B38C88DE69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80B80934-CE1A-4D35-80DA-711344BDCC57}" type="datetime1">
              <a:rPr lang="en-GB" smtClean="0"/>
              <a:t>24/11/2022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9B518F-129A-4DDE-9BD1-5F5A3E74E3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8A33AFE-3224-4154-934D-A8CCDC7530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0F2143DE-C839-41A0-A357-A80D44BA564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003691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F995BC6-5574-4586-BD7A-42B12E5993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520764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F995BC6-5574-4586-BD7A-42B12E5993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9147989-CBEE-4B29-B326-1D113EE4E0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875" y="365125"/>
            <a:ext cx="111633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ECBB26-5B27-47BE-8EC5-5E41A1D090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3875" y="1000125"/>
            <a:ext cx="11163300" cy="51768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  <a:p>
            <a:pPr lvl="1"/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C9B4AE-43D1-4AC0-8CA7-2269003EA36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23875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E373F9-5044-427C-9A1C-CDF1DC5B88C2}" type="datetime1">
              <a:rPr lang="en-GB" smtClean="0"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56C200-487D-42D2-B341-794F4F0446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4D6931-153E-453F-8DDD-FA9FC79497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43975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0F2143DE-C839-41A0-A357-A80D44BA564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88417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4.x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Relationship Id="rId9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6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5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6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7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Relationship Id="rId6" Type="http://schemas.openxmlformats.org/officeDocument/2006/relationships/image" Target="../media/image7.png"/><Relationship Id="rId11" Type="http://schemas.openxmlformats.org/officeDocument/2006/relationships/image" Target="../media/image12.sv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10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6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9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6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1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3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Relationship Id="rId9" Type="http://schemas.openxmlformats.org/officeDocument/2006/relationships/image" Target="../media/image2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31B39ED-941B-40A2-BB3C-B76D12F43D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323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31B39ED-941B-40A2-BB3C-B76D12F43D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" name="Graphic 32" descr="Home outline">
            <a:extLst>
              <a:ext uri="{FF2B5EF4-FFF2-40B4-BE49-F238E27FC236}">
                <a16:creationId xmlns:a16="http://schemas.microsoft.com/office/drawing/2014/main" id="{76FD66F5-6D67-46D2-82F6-0D8DA06CD24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286041" y="1108168"/>
            <a:ext cx="1619915" cy="161991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E7E7F248-A6EC-4775-9234-C53BF7A17E3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  <a:alpha val="3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4D0B4D89-D248-4F23-8CBA-EC3EA727D0A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38948" y="595115"/>
            <a:ext cx="5314102" cy="566777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5BEA453-86B2-4D6B-8F50-1355083F9C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49840" y="2082632"/>
            <a:ext cx="4692318" cy="2626360"/>
          </a:xfrm>
          <a:solidFill>
            <a:srgbClr val="32C3FF"/>
          </a:solidFill>
        </p:spPr>
        <p:txBody>
          <a:bodyPr vert="horz"/>
          <a:lstStyle/>
          <a:p>
            <a:pPr>
              <a:lnSpc>
                <a:spcPct val="100000"/>
              </a:lnSpc>
            </a:pPr>
            <a:r>
              <a:rPr lang="es-ES" sz="36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98C10D04-A1AA-49D2-B2EF-01B3243BC12D}"/>
              </a:ext>
            </a:extLst>
          </p:cNvPr>
          <p:cNvSpPr txBox="1">
            <a:spLocks/>
          </p:cNvSpPr>
          <p:nvPr/>
        </p:nvSpPr>
        <p:spPr>
          <a:xfrm>
            <a:off x="3515224" y="1984502"/>
            <a:ext cx="5161550" cy="2888996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s-ES" sz="3800" b="1" dirty="0">
                <a:solidFill>
                  <a:schemeClr val="bg1"/>
                </a:solidFill>
              </a:rPr>
              <a:t>Data </a:t>
            </a:r>
            <a:r>
              <a:rPr lang="es-ES" sz="3800" b="1" dirty="0" err="1">
                <a:solidFill>
                  <a:schemeClr val="bg1"/>
                </a:solidFill>
              </a:rPr>
              <a:t>analytics</a:t>
            </a:r>
            <a:r>
              <a:rPr lang="es-ES" sz="3800" b="1" dirty="0">
                <a:solidFill>
                  <a:schemeClr val="bg1"/>
                </a:solidFill>
              </a:rPr>
              <a:t> </a:t>
            </a:r>
            <a:r>
              <a:rPr lang="es-ES" sz="3800" b="1" dirty="0" err="1">
                <a:solidFill>
                  <a:schemeClr val="bg1"/>
                </a:solidFill>
              </a:rPr>
              <a:t>bootcamp</a:t>
            </a:r>
            <a:br>
              <a:rPr lang="es-ES" dirty="0">
                <a:solidFill>
                  <a:schemeClr val="bg1"/>
                </a:solidFill>
              </a:rPr>
            </a:br>
            <a:r>
              <a:rPr lang="es-ES" sz="3600" b="1" dirty="0">
                <a:solidFill>
                  <a:schemeClr val="bg1"/>
                </a:solidFill>
              </a:rPr>
              <a:t>Case </a:t>
            </a:r>
            <a:r>
              <a:rPr lang="es-ES" sz="3600" b="1" dirty="0" err="1">
                <a:solidFill>
                  <a:schemeClr val="bg1"/>
                </a:solidFill>
              </a:rPr>
              <a:t>study</a:t>
            </a:r>
            <a:r>
              <a:rPr lang="es-ES" sz="3600" dirty="0">
                <a:solidFill>
                  <a:schemeClr val="bg1"/>
                </a:solidFill>
              </a:rPr>
              <a:t>: Regress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3C366B4-FEF8-42A4-9EB9-64A743FF12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08704" y="3975999"/>
            <a:ext cx="4174591" cy="1655762"/>
          </a:xfrm>
          <a:noFill/>
        </p:spPr>
        <p:txBody>
          <a:bodyPr anchor="ctr">
            <a:normAutofit/>
          </a:bodyPr>
          <a:lstStyle/>
          <a:p>
            <a:r>
              <a:rPr lang="es-ES" sz="2400" dirty="0">
                <a:solidFill>
                  <a:schemeClr val="bg1"/>
                </a:solidFill>
              </a:rPr>
              <a:t>Enric Mus y Joan Viladomiu</a:t>
            </a:r>
          </a:p>
          <a:p>
            <a:r>
              <a:rPr lang="es-ES" sz="2400" dirty="0">
                <a:solidFill>
                  <a:schemeClr val="bg1"/>
                </a:solidFill>
              </a:rPr>
              <a:t>23/11/2022</a:t>
            </a:r>
          </a:p>
        </p:txBody>
      </p:sp>
    </p:spTree>
    <p:extLst>
      <p:ext uri="{BB962C8B-B14F-4D97-AF65-F5344CB8AC3E}">
        <p14:creationId xmlns:p14="http://schemas.microsoft.com/office/powerpoint/2010/main" val="16416666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736897-BFA9-41AC-9FCD-17A27AC24D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8818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736897-BFA9-41AC-9FCD-17A27AC24D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AB591CE-E7CD-4793-B511-01EEF4704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y </a:t>
            </a:r>
            <a:r>
              <a:rPr lang="es-ES" b="1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findings</a:t>
            </a:r>
            <a:r>
              <a:rPr lang="es-ES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s-E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3/3)</a:t>
            </a:r>
            <a:endParaRPr lang="es-ES" b="1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B4CA9A8E-E978-4055-AEEB-A94B7C4A4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2143DE-C839-41A0-A357-A80D44BA564F}" type="slidenum">
              <a:rPr lang="es-ES" smtClean="0"/>
              <a:pPr/>
              <a:t>10</a:t>
            </a:fld>
            <a:endParaRPr lang="es-E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B93C1E0-2E30-4563-A5F5-5F80A858AF5F}"/>
              </a:ext>
            </a:extLst>
          </p:cNvPr>
          <p:cNvGrpSpPr/>
          <p:nvPr/>
        </p:nvGrpSpPr>
        <p:grpSpPr>
          <a:xfrm>
            <a:off x="880072" y="2234857"/>
            <a:ext cx="7123960" cy="3777065"/>
            <a:chOff x="523874" y="2046004"/>
            <a:chExt cx="7836356" cy="4154771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F8F913D-ABC8-469A-927C-2E7AFF12023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3874" y="2046004"/>
              <a:ext cx="7836356" cy="415477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srgbClr val="32C3FF">
                  <a:alpha val="6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52BAF2F-2A56-4B83-97CB-D34027573823}"/>
                </a:ext>
              </a:extLst>
            </p:cNvPr>
            <p:cNvGrpSpPr/>
            <p:nvPr/>
          </p:nvGrpSpPr>
          <p:grpSpPr>
            <a:xfrm>
              <a:off x="654330" y="2115171"/>
              <a:ext cx="7575444" cy="4016438"/>
              <a:chOff x="2035627" y="1621201"/>
              <a:chExt cx="8795658" cy="4663385"/>
            </a:xfrm>
            <a:effectLst/>
          </p:grpSpPr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A60C63C1-0B0D-43D8-85FF-921FF153FD5F}"/>
                  </a:ext>
                </a:extLst>
              </p:cNvPr>
              <p:cNvGrpSpPr/>
              <p:nvPr/>
            </p:nvGrpSpPr>
            <p:grpSpPr>
              <a:xfrm>
                <a:off x="2054980" y="1621201"/>
                <a:ext cx="8756953" cy="2160601"/>
                <a:chOff x="1736877" y="1529094"/>
                <a:chExt cx="8756953" cy="2160601"/>
              </a:xfrm>
            </p:grpSpPr>
            <p:pic>
              <p:nvPicPr>
                <p:cNvPr id="12" name="Picture 11">
                  <a:extLst>
                    <a:ext uri="{FF2B5EF4-FFF2-40B4-BE49-F238E27FC236}">
                      <a16:creationId xmlns:a16="http://schemas.microsoft.com/office/drawing/2014/main" id="{BEC0E572-CA30-4463-B266-4C6C6D3B264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6"/>
                <a:srcRect t="12601"/>
                <a:stretch/>
              </p:blipFill>
              <p:spPr>
                <a:xfrm>
                  <a:off x="6096001" y="1529094"/>
                  <a:ext cx="4397829" cy="2160601"/>
                </a:xfrm>
                <a:prstGeom prst="rect">
                  <a:avLst/>
                </a:prstGeom>
              </p:spPr>
            </p:pic>
            <p:pic>
              <p:nvPicPr>
                <p:cNvPr id="8" name="Picture 7">
                  <a:extLst>
                    <a:ext uri="{FF2B5EF4-FFF2-40B4-BE49-F238E27FC236}">
                      <a16:creationId xmlns:a16="http://schemas.microsoft.com/office/drawing/2014/main" id="{7DC8CEDB-0BED-4D29-B165-0D40020D35E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7"/>
                <a:srcRect l="883" t="14713" r="-329" b="721"/>
                <a:stretch/>
              </p:blipFill>
              <p:spPr>
                <a:xfrm>
                  <a:off x="1736877" y="1583525"/>
                  <a:ext cx="4359122" cy="2088363"/>
                </a:xfrm>
                <a:prstGeom prst="rect">
                  <a:avLst/>
                </a:prstGeom>
              </p:spPr>
            </p:pic>
          </p:grpSp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009D7DFE-8F02-441D-8EEA-3C5337146B2F}"/>
                  </a:ext>
                </a:extLst>
              </p:cNvPr>
              <p:cNvGrpSpPr/>
              <p:nvPr/>
            </p:nvGrpSpPr>
            <p:grpSpPr>
              <a:xfrm>
                <a:off x="2035627" y="4156498"/>
                <a:ext cx="8795658" cy="2128088"/>
                <a:chOff x="2373084" y="4156498"/>
                <a:chExt cx="8795658" cy="2128088"/>
              </a:xfrm>
            </p:grpSpPr>
            <p:pic>
              <p:nvPicPr>
                <p:cNvPr id="14" name="Picture 13">
                  <a:extLst>
                    <a:ext uri="{FF2B5EF4-FFF2-40B4-BE49-F238E27FC236}">
                      <a16:creationId xmlns:a16="http://schemas.microsoft.com/office/drawing/2014/main" id="{7AE31998-65D9-4F71-A99C-313D2B5B81A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"/>
                <a:srcRect t="13916"/>
                <a:stretch/>
              </p:blipFill>
              <p:spPr>
                <a:xfrm>
                  <a:off x="6770913" y="4156498"/>
                  <a:ext cx="4397829" cy="2128088"/>
                </a:xfrm>
                <a:prstGeom prst="rect">
                  <a:avLst/>
                </a:prstGeom>
              </p:spPr>
            </p:pic>
            <p:pic>
              <p:nvPicPr>
                <p:cNvPr id="11" name="Picture 10">
                  <a:extLst>
                    <a:ext uri="{FF2B5EF4-FFF2-40B4-BE49-F238E27FC236}">
                      <a16:creationId xmlns:a16="http://schemas.microsoft.com/office/drawing/2014/main" id="{84963805-6C86-49F3-9363-AA2A23CFCB9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9"/>
                <a:srcRect l="666" t="14029" r="808" b="1067"/>
                <a:stretch/>
              </p:blipFill>
              <p:spPr>
                <a:xfrm>
                  <a:off x="2373084" y="4156498"/>
                  <a:ext cx="4397829" cy="2127666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0FD1EAA4-2008-4040-A971-363FD16E75F0}"/>
              </a:ext>
            </a:extLst>
          </p:cNvPr>
          <p:cNvSpPr/>
          <p:nvPr/>
        </p:nvSpPr>
        <p:spPr>
          <a:xfrm>
            <a:off x="8507354" y="2234858"/>
            <a:ext cx="3179819" cy="3777064"/>
          </a:xfrm>
          <a:prstGeom prst="rect">
            <a:avLst/>
          </a:prstGeom>
          <a:solidFill>
            <a:schemeClr val="bg1"/>
          </a:solidFill>
          <a:ln w="19050">
            <a:solidFill>
              <a:srgbClr val="32C3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rgbClr val="FFFF00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 las gráficas de línea se puede ver el promedio de precio por año construido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rgbClr val="FFFF00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a categoría D tiene el mayor precio promedio tiene sentido que son las casas más nuevas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rgbClr val="FFFF00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 añade el promedio de </a:t>
            </a:r>
            <a:r>
              <a:rPr lang="es-ES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rade</a:t>
            </a: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y </a:t>
            </a:r>
            <a:r>
              <a:rPr lang="es-ES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ondition</a:t>
            </a: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or categoría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CF58E0-CA02-465D-B121-8F3941806852}"/>
              </a:ext>
            </a:extLst>
          </p:cNvPr>
          <p:cNvSpPr/>
          <p:nvPr/>
        </p:nvSpPr>
        <p:spPr>
          <a:xfrm>
            <a:off x="523874" y="1091723"/>
            <a:ext cx="11163299" cy="798706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>
              <a:spcBef>
                <a:spcPts val="600"/>
              </a:spcBef>
            </a:pP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 </a:t>
            </a:r>
            <a:r>
              <a:rPr lang="es-ES" b="1" dirty="0" err="1">
                <a:solidFill>
                  <a:srgbClr val="32C3FF"/>
                </a:solidFill>
              </a:rPr>
              <a:t>Power</a:t>
            </a:r>
            <a:r>
              <a:rPr lang="es-ES" b="1" dirty="0">
                <a:solidFill>
                  <a:srgbClr val="32C3FF"/>
                </a:solidFill>
              </a:rPr>
              <a:t> BI</a:t>
            </a: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representamos gráficas de forma visual con el fin de ver como se comporta el precio a partir de las condiciones que evaluamos, por ejemplo, el </a:t>
            </a:r>
            <a:r>
              <a:rPr lang="es-ES" b="1" dirty="0">
                <a:solidFill>
                  <a:srgbClr val="32C3FF"/>
                </a:solidFill>
              </a:rPr>
              <a:t>promedio de precio en función del año construido por categoría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7DDD435-2E82-42A5-9725-F5FAE808A69D}"/>
              </a:ext>
            </a:extLst>
          </p:cNvPr>
          <p:cNvSpPr txBox="1"/>
          <p:nvPr/>
        </p:nvSpPr>
        <p:spPr>
          <a:xfrm>
            <a:off x="523875" y="6341594"/>
            <a:ext cx="111633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s-ES_tradnl" sz="1000" baseline="30000" dirty="0"/>
              <a:t>1 Se han definido cuatro categorías agrupadas en cuartiles de los inmuebles construidos en esos años, categoría A son casas construidas de 1900 a 1930 </a:t>
            </a:r>
            <a:endParaRPr lang="es-ES" sz="1000" dirty="0"/>
          </a:p>
        </p:txBody>
      </p:sp>
    </p:spTree>
    <p:extLst>
      <p:ext uri="{BB962C8B-B14F-4D97-AF65-F5344CB8AC3E}">
        <p14:creationId xmlns:p14="http://schemas.microsoft.com/office/powerpoint/2010/main" val="33447403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2D60BF-D2CB-46ED-AF4D-D588879D5F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9446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2D60BF-D2CB-46ED-AF4D-D588879D5F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20B3CF-A5C7-45DB-9513-5AB9F3BD2A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9136" y="2002632"/>
            <a:ext cx="7359650" cy="2852737"/>
          </a:xfrm>
        </p:spPr>
        <p:txBody>
          <a:bodyPr vert="horz"/>
          <a:lstStyle/>
          <a:p>
            <a:r>
              <a:rPr lang="es-ES" dirty="0"/>
              <a:t>CONCLUSION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84F22B1-1CFE-4835-A8B7-4E4FB44706E4}"/>
              </a:ext>
            </a:extLst>
          </p:cNvPr>
          <p:cNvSpPr txBox="1">
            <a:spLocks noChangeAspect="1"/>
          </p:cNvSpPr>
          <p:nvPr/>
        </p:nvSpPr>
        <p:spPr>
          <a:xfrm>
            <a:off x="1487057" y="2105563"/>
            <a:ext cx="1871155" cy="264687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s-ES" sz="16600">
                <a:solidFill>
                  <a:srgbClr val="32C3FF"/>
                </a:solidFill>
              </a:rPr>
              <a:t>4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4752A3C-A31A-4401-AAC3-AA94E7248F7D}"/>
              </a:ext>
            </a:extLst>
          </p:cNvPr>
          <p:cNvGrpSpPr/>
          <p:nvPr/>
        </p:nvGrpSpPr>
        <p:grpSpPr>
          <a:xfrm>
            <a:off x="6465661" y="4249109"/>
            <a:ext cx="5726339" cy="2608891"/>
            <a:chOff x="6335217" y="3892273"/>
            <a:chExt cx="5726339" cy="2608891"/>
          </a:xfrm>
        </p:grpSpPr>
        <p:pic>
          <p:nvPicPr>
            <p:cNvPr id="6" name="Graphic 5" descr="Home outline">
              <a:extLst>
                <a:ext uri="{FF2B5EF4-FFF2-40B4-BE49-F238E27FC236}">
                  <a16:creationId xmlns:a16="http://schemas.microsoft.com/office/drawing/2014/main" id="{84D80A28-AC1F-4824-B2E2-86267F6A25B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452665" y="3892273"/>
              <a:ext cx="2608891" cy="2608891"/>
            </a:xfrm>
            <a:prstGeom prst="rect">
              <a:avLst/>
            </a:prstGeom>
          </p:spPr>
        </p:pic>
        <p:pic>
          <p:nvPicPr>
            <p:cNvPr id="7" name="Graphic 6" descr="Home outline">
              <a:extLst>
                <a:ext uri="{FF2B5EF4-FFF2-40B4-BE49-F238E27FC236}">
                  <a16:creationId xmlns:a16="http://schemas.microsoft.com/office/drawing/2014/main" id="{6C5154F6-2FAA-4C7B-8D8F-25FE0BF91C1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625844" y="4292276"/>
              <a:ext cx="2156108" cy="2156108"/>
            </a:xfrm>
            <a:prstGeom prst="rect">
              <a:avLst/>
            </a:prstGeom>
          </p:spPr>
        </p:pic>
        <p:pic>
          <p:nvPicPr>
            <p:cNvPr id="8" name="Graphic 7" descr="Home outline">
              <a:extLst>
                <a:ext uri="{FF2B5EF4-FFF2-40B4-BE49-F238E27FC236}">
                  <a16:creationId xmlns:a16="http://schemas.microsoft.com/office/drawing/2014/main" id="{868E242F-9BB4-4CE4-9486-C2D90C72C34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335217" y="4762951"/>
              <a:ext cx="1619915" cy="16199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011175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736897-BFA9-41AC-9FCD-17A27AC24D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1003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736897-BFA9-41AC-9FCD-17A27AC24D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AB591CE-E7CD-4793-B511-01EEF4704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 b="1">
                <a:solidFill>
                  <a:schemeClr val="tx1">
                    <a:lumMod val="50000"/>
                    <a:lumOff val="50000"/>
                  </a:schemeClr>
                </a:solidFill>
              </a:rPr>
              <a:t>Conclusion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9D244F-A42D-4A46-AC6F-12D790B16A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2143DE-C839-41A0-A357-A80D44BA564F}" type="slidenum">
              <a:rPr lang="es-ES" smtClean="0"/>
              <a:pPr/>
              <a:t>12</a:t>
            </a:fld>
            <a:endParaRPr lang="es-E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8E2476B-3B60-42AF-A920-93662C4481DC}"/>
              </a:ext>
            </a:extLst>
          </p:cNvPr>
          <p:cNvSpPr/>
          <p:nvPr/>
        </p:nvSpPr>
        <p:spPr>
          <a:xfrm>
            <a:off x="539924" y="1512096"/>
            <a:ext cx="2573771" cy="4353573"/>
          </a:xfrm>
          <a:prstGeom prst="rect">
            <a:avLst/>
          </a:prstGeom>
          <a:solidFill>
            <a:srgbClr val="32C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B7CF47D-62DC-4A05-8DA0-933DE35ECA39}"/>
              </a:ext>
            </a:extLst>
          </p:cNvPr>
          <p:cNvSpPr txBox="1"/>
          <p:nvPr/>
        </p:nvSpPr>
        <p:spPr>
          <a:xfrm>
            <a:off x="1343730" y="1697900"/>
            <a:ext cx="96615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000">
                <a:solidFill>
                  <a:srgbClr val="FFFF00"/>
                </a:solidFill>
              </a:rPr>
              <a:t>1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9632346-FD3A-43F2-A35E-0102B388FE57}"/>
              </a:ext>
            </a:extLst>
          </p:cNvPr>
          <p:cNvSpPr/>
          <p:nvPr/>
        </p:nvSpPr>
        <p:spPr>
          <a:xfrm>
            <a:off x="9113404" y="1512096"/>
            <a:ext cx="2573771" cy="4353573"/>
          </a:xfrm>
          <a:prstGeom prst="rect">
            <a:avLst/>
          </a:prstGeom>
          <a:solidFill>
            <a:srgbClr val="32C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25CF16E-8F37-41CE-A58F-42497B633DEE}"/>
              </a:ext>
            </a:extLst>
          </p:cNvPr>
          <p:cNvSpPr/>
          <p:nvPr/>
        </p:nvSpPr>
        <p:spPr>
          <a:xfrm>
            <a:off x="6247582" y="1512096"/>
            <a:ext cx="2573771" cy="4353573"/>
          </a:xfrm>
          <a:prstGeom prst="rect">
            <a:avLst/>
          </a:prstGeom>
          <a:solidFill>
            <a:srgbClr val="32C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3027954-BB2F-4F82-B844-F7A7F8812FD0}"/>
              </a:ext>
            </a:extLst>
          </p:cNvPr>
          <p:cNvSpPr/>
          <p:nvPr/>
        </p:nvSpPr>
        <p:spPr>
          <a:xfrm>
            <a:off x="3381760" y="1512096"/>
            <a:ext cx="2573771" cy="4353573"/>
          </a:xfrm>
          <a:prstGeom prst="rect">
            <a:avLst/>
          </a:prstGeom>
          <a:solidFill>
            <a:srgbClr val="32C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D057F23-4DE6-4D19-A2EF-27DDB4C1AD3D}"/>
              </a:ext>
            </a:extLst>
          </p:cNvPr>
          <p:cNvSpPr txBox="1"/>
          <p:nvPr/>
        </p:nvSpPr>
        <p:spPr>
          <a:xfrm>
            <a:off x="4185566" y="1697900"/>
            <a:ext cx="96615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000">
                <a:solidFill>
                  <a:srgbClr val="FFFF00"/>
                </a:solidFill>
              </a:rPr>
              <a:t>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F922AE8-EFFB-4A89-B84C-07B190DDD0D3}"/>
              </a:ext>
            </a:extLst>
          </p:cNvPr>
          <p:cNvSpPr txBox="1"/>
          <p:nvPr/>
        </p:nvSpPr>
        <p:spPr>
          <a:xfrm>
            <a:off x="7051388" y="1697900"/>
            <a:ext cx="96615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000">
                <a:solidFill>
                  <a:srgbClr val="FFFF00"/>
                </a:solidFill>
              </a:rPr>
              <a:t>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F6F7A1D-98A0-4C42-A851-DA8AC56F7531}"/>
              </a:ext>
            </a:extLst>
          </p:cNvPr>
          <p:cNvSpPr txBox="1"/>
          <p:nvPr/>
        </p:nvSpPr>
        <p:spPr>
          <a:xfrm>
            <a:off x="9917210" y="1697900"/>
            <a:ext cx="96615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000">
                <a:solidFill>
                  <a:srgbClr val="FFFF00"/>
                </a:solidFill>
              </a:rPr>
              <a:t>4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89B9E76-C930-4FBB-8425-6BFA57DF7F4A}"/>
              </a:ext>
            </a:extLst>
          </p:cNvPr>
          <p:cNvSpPr/>
          <p:nvPr/>
        </p:nvSpPr>
        <p:spPr>
          <a:xfrm>
            <a:off x="727774" y="2444813"/>
            <a:ext cx="2198070" cy="303251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t"/>
          <a:lstStyle/>
          <a:p>
            <a:pPr algn="ctr">
              <a:lnSpc>
                <a:spcPct val="150000"/>
              </a:lnSpc>
              <a:buClr>
                <a:srgbClr val="FFFF00"/>
              </a:buClr>
              <a:buSzPct val="70000"/>
            </a:pPr>
            <a:r>
              <a:rPr lang="es-ES" dirty="0">
                <a:solidFill>
                  <a:schemeClr val="bg1"/>
                </a:solidFill>
              </a:rPr>
              <a:t>La </a:t>
            </a:r>
            <a:r>
              <a:rPr lang="es-ES" b="1" dirty="0">
                <a:solidFill>
                  <a:schemeClr val="bg1"/>
                </a:solidFill>
              </a:rPr>
              <a:t>ubicación de las propiedades </a:t>
            </a:r>
            <a:r>
              <a:rPr lang="es-ES" dirty="0">
                <a:solidFill>
                  <a:schemeClr val="bg1"/>
                </a:solidFill>
              </a:rPr>
              <a:t>afecta considerablemente al precio (</a:t>
            </a:r>
            <a:r>
              <a:rPr lang="es-ES" i="1" dirty="0" err="1">
                <a:solidFill>
                  <a:schemeClr val="bg1"/>
                </a:solidFill>
              </a:rPr>
              <a:t>zipcode</a:t>
            </a:r>
            <a:r>
              <a:rPr lang="es-ES" i="1" dirty="0">
                <a:solidFill>
                  <a:schemeClr val="bg1"/>
                </a:solidFill>
              </a:rPr>
              <a:t>)</a:t>
            </a:r>
            <a:r>
              <a:rPr lang="es-ES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AB69078-C89E-40BF-8249-93FBD2C693F3}"/>
              </a:ext>
            </a:extLst>
          </p:cNvPr>
          <p:cNvSpPr/>
          <p:nvPr/>
        </p:nvSpPr>
        <p:spPr>
          <a:xfrm>
            <a:off x="9301254" y="2444813"/>
            <a:ext cx="2198070" cy="303251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t"/>
          <a:lstStyle/>
          <a:p>
            <a:pPr algn="ctr">
              <a:lnSpc>
                <a:spcPct val="150000"/>
              </a:lnSpc>
              <a:buClr>
                <a:srgbClr val="FFFF00"/>
              </a:buClr>
              <a:buSzPct val="70000"/>
            </a:pPr>
            <a:r>
              <a:rPr lang="es-ES" dirty="0">
                <a:solidFill>
                  <a:schemeClr val="bg1"/>
                </a:solidFill>
              </a:rPr>
              <a:t>El hecho de tener </a:t>
            </a:r>
            <a:r>
              <a:rPr lang="es-ES" b="1" dirty="0">
                <a:solidFill>
                  <a:schemeClr val="bg1"/>
                </a:solidFill>
              </a:rPr>
              <a:t>vistas al mar </a:t>
            </a:r>
            <a:r>
              <a:rPr lang="es-ES" dirty="0">
                <a:solidFill>
                  <a:schemeClr val="bg1"/>
                </a:solidFill>
              </a:rPr>
              <a:t>incrementa exponencialmente el precio del inmueb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BC1B790-59B0-48CF-8069-C0B65B20DA6B}"/>
              </a:ext>
            </a:extLst>
          </p:cNvPr>
          <p:cNvSpPr/>
          <p:nvPr/>
        </p:nvSpPr>
        <p:spPr>
          <a:xfrm>
            <a:off x="3569610" y="2444813"/>
            <a:ext cx="2198070" cy="303251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t"/>
          <a:lstStyle/>
          <a:p>
            <a:pPr algn="ctr">
              <a:lnSpc>
                <a:spcPct val="150000"/>
              </a:lnSpc>
              <a:buClr>
                <a:srgbClr val="FFFF00"/>
              </a:buClr>
              <a:buSzPct val="70000"/>
            </a:pPr>
            <a:r>
              <a:rPr lang="es-ES" dirty="0">
                <a:solidFill>
                  <a:schemeClr val="bg1"/>
                </a:solidFill>
              </a:rPr>
              <a:t>En función del </a:t>
            </a:r>
            <a:r>
              <a:rPr lang="es-ES" b="1" dirty="0">
                <a:solidFill>
                  <a:schemeClr val="bg1"/>
                </a:solidFill>
              </a:rPr>
              <a:t>año de construcción </a:t>
            </a:r>
            <a:r>
              <a:rPr lang="es-ES" dirty="0">
                <a:solidFill>
                  <a:schemeClr val="bg1"/>
                </a:solidFill>
              </a:rPr>
              <a:t>el precio varia, aproximadamente disminuye un  35% entre 1930 y 1990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8E44BB5-0281-4563-AF1A-EB7D9F07FD7B}"/>
              </a:ext>
            </a:extLst>
          </p:cNvPr>
          <p:cNvSpPr/>
          <p:nvPr/>
        </p:nvSpPr>
        <p:spPr>
          <a:xfrm>
            <a:off x="6435432" y="2444813"/>
            <a:ext cx="2198070" cy="303251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t"/>
          <a:lstStyle/>
          <a:p>
            <a:pPr algn="ctr">
              <a:lnSpc>
                <a:spcPct val="150000"/>
              </a:lnSpc>
              <a:buClr>
                <a:srgbClr val="FFFF00"/>
              </a:buClr>
              <a:buSzPct val="70000"/>
            </a:pPr>
            <a:r>
              <a:rPr lang="es-ES" dirty="0">
                <a:solidFill>
                  <a:schemeClr val="bg1"/>
                </a:solidFill>
              </a:rPr>
              <a:t>A partir de 1945, el </a:t>
            </a:r>
            <a:r>
              <a:rPr lang="es-ES" b="1" dirty="0">
                <a:solidFill>
                  <a:schemeClr val="bg1"/>
                </a:solidFill>
              </a:rPr>
              <a:t>tamaño de las casas </a:t>
            </a:r>
            <a:r>
              <a:rPr lang="es-ES" dirty="0">
                <a:solidFill>
                  <a:schemeClr val="bg1"/>
                </a:solidFill>
              </a:rPr>
              <a:t>mantiene relación con el promedio del precio a diferencia del tamaño del sótano</a:t>
            </a:r>
          </a:p>
        </p:txBody>
      </p:sp>
    </p:spTree>
    <p:extLst>
      <p:ext uri="{BB962C8B-B14F-4D97-AF65-F5344CB8AC3E}">
        <p14:creationId xmlns:p14="http://schemas.microsoft.com/office/powerpoint/2010/main" val="26020307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6E3576-A478-4025-8C69-8C63D0E10B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8B6ADE-7F30-4812-9BB2-EC8859B577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026715-1EF4-4422-BF6F-DED7094FE5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2143DE-C839-41A0-A357-A80D44BA564F}" type="slidenum">
              <a:rPr lang="es-ES" smtClean="0"/>
              <a:pPr/>
              <a:t>13</a:t>
            </a:fld>
            <a:endParaRPr lang="es-E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195053C-232D-4FB0-89ED-F7F74B46CF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12072257" cy="6749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1224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E4DB42F-4630-49B3-9DC9-377BB00736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969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E4DB42F-4630-49B3-9DC9-377BB00736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6BF6593-7738-402C-B54A-602C4056F72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2C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6000" dirty="0"/>
              <a:t>Gracias por vuestra atención</a:t>
            </a:r>
          </a:p>
          <a:p>
            <a:pPr algn="ctr"/>
            <a:r>
              <a:rPr lang="es-ES" sz="6000" dirty="0">
                <a:solidFill>
                  <a:srgbClr val="FFFF00"/>
                </a:solidFill>
                <a:sym typeface="Wingdings" panose="05000000000000000000" pitchFamily="2" charset="2"/>
              </a:rPr>
              <a:t></a:t>
            </a:r>
            <a:endParaRPr lang="es-ES" sz="6000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7134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31B39ED-941B-40A2-BB3C-B76D12F43D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5906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31B39ED-941B-40A2-BB3C-B76D12F43D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DFA7553-47CC-4F0D-82EF-804F97A4A8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s-ES" b="1">
                <a:solidFill>
                  <a:schemeClr val="tx1">
                    <a:lumMod val="50000"/>
                    <a:lumOff val="50000"/>
                  </a:schemeClr>
                </a:solidFill>
              </a:rPr>
              <a:t>Tabla de contenidos</a:t>
            </a:r>
          </a:p>
        </p:txBody>
      </p:sp>
      <p:sp>
        <p:nvSpPr>
          <p:cNvPr id="49" name="Rectangle 3">
            <a:extLst>
              <a:ext uri="{FF2B5EF4-FFF2-40B4-BE49-F238E27FC236}">
                <a16:creationId xmlns:a16="http://schemas.microsoft.com/office/drawing/2014/main" id="{1A6AEFB7-0C17-491B-A220-3F6E95989AB8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45008" y="2281873"/>
            <a:ext cx="5537932" cy="43413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marL="202259" marR="0" lvl="0" indent="0" defTabSz="1119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20" b="0" i="0" u="none" strike="noStrike" kern="0" cap="none" spc="0" normalizeH="0" baseline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cs typeface="ＭＳ Ｐゴシック"/>
              </a:rPr>
              <a:t>Contexto</a:t>
            </a:r>
          </a:p>
        </p:txBody>
      </p:sp>
      <p:sp>
        <p:nvSpPr>
          <p:cNvPr id="50" name="Rectangle 3">
            <a:extLst>
              <a:ext uri="{FF2B5EF4-FFF2-40B4-BE49-F238E27FC236}">
                <a16:creationId xmlns:a16="http://schemas.microsoft.com/office/drawing/2014/main" id="{43C79D3A-5C66-46C5-9606-605D7CDDC4C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77890" y="2281873"/>
            <a:ext cx="557171" cy="45728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marL="0" marR="0" lvl="0" indent="0" defTabSz="1119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20" b="0" i="0" u="none" strike="noStrike" kern="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EYInterstate" panose="02000503020000020004" pitchFamily="2" charset="0"/>
              <a:cs typeface="ＭＳ Ｐゴシック"/>
            </a:endParaRPr>
          </a:p>
        </p:txBody>
      </p:sp>
      <p:sp>
        <p:nvSpPr>
          <p:cNvPr id="51" name="Oval 4">
            <a:extLst>
              <a:ext uri="{FF2B5EF4-FFF2-40B4-BE49-F238E27FC236}">
                <a16:creationId xmlns:a16="http://schemas.microsoft.com/office/drawing/2014/main" id="{3C5FDC5F-A8B3-4F9C-9832-58412BB0F1C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12094" y="2163206"/>
            <a:ext cx="575664" cy="677266"/>
          </a:xfrm>
          <a:prstGeom prst="ellipse">
            <a:avLst/>
          </a:prstGeom>
          <a:solidFill>
            <a:srgbClr val="FFFFFF"/>
          </a:solidFill>
          <a:ln w="9525" algn="ctr">
            <a:noFill/>
            <a:round/>
            <a:headEnd/>
            <a:tailEnd/>
          </a:ln>
        </p:spPr>
        <p:txBody>
          <a:bodyPr wrap="none" anchor="ctr" anchorCtr="0"/>
          <a:lstStyle/>
          <a:p>
            <a:pPr marL="0" marR="0" lvl="0" indent="0" defTabSz="1119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20" b="1" i="0" u="none" strike="noStrike" kern="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EYInterstate" panose="02000503020000020004" pitchFamily="2" charset="0"/>
              <a:cs typeface="ＭＳ Ｐゴシック"/>
            </a:endParaRPr>
          </a:p>
        </p:txBody>
      </p:sp>
      <p:sp>
        <p:nvSpPr>
          <p:cNvPr id="52" name="Oval 5">
            <a:extLst>
              <a:ext uri="{FF2B5EF4-FFF2-40B4-BE49-F238E27FC236}">
                <a16:creationId xmlns:a16="http://schemas.microsoft.com/office/drawing/2014/main" id="{6A27D7A5-5FAA-4334-BB2C-0C6BA1A8321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93011" y="2258718"/>
            <a:ext cx="413831" cy="486242"/>
          </a:xfrm>
          <a:prstGeom prst="ellipse">
            <a:avLst/>
          </a:prstGeom>
          <a:solidFill>
            <a:srgbClr val="FFFF00"/>
          </a:solidFill>
          <a:ln w="9525" algn="ctr">
            <a:noFill/>
            <a:round/>
            <a:headEnd/>
            <a:tailEnd/>
          </a:ln>
        </p:spPr>
        <p:txBody>
          <a:bodyPr wrap="none" anchor="ctr" anchorCtr="0"/>
          <a:lstStyle/>
          <a:p>
            <a:pPr marL="0" marR="0" lvl="0" indent="0" algn="ctr" defTabSz="11195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20" b="1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cs typeface="ＭＳ Ｐゴシック"/>
              </a:rPr>
              <a:t>1</a:t>
            </a:r>
          </a:p>
        </p:txBody>
      </p:sp>
      <p:sp>
        <p:nvSpPr>
          <p:cNvPr id="54" name="Rectangle 3">
            <a:extLst>
              <a:ext uri="{FF2B5EF4-FFF2-40B4-BE49-F238E27FC236}">
                <a16:creationId xmlns:a16="http://schemas.microsoft.com/office/drawing/2014/main" id="{BBE1D817-C69E-4C52-9DDD-D9D087BC165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45008" y="3520939"/>
            <a:ext cx="5537932" cy="43413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marL="202259" marR="0" lvl="0" indent="0" defTabSz="1119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20" b="0" i="1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cs typeface="ＭＳ Ｐゴシック"/>
              </a:rPr>
              <a:t>Key findings</a:t>
            </a:r>
          </a:p>
        </p:txBody>
      </p:sp>
      <p:sp>
        <p:nvSpPr>
          <p:cNvPr id="55" name="Rectangle 3">
            <a:extLst>
              <a:ext uri="{FF2B5EF4-FFF2-40B4-BE49-F238E27FC236}">
                <a16:creationId xmlns:a16="http://schemas.microsoft.com/office/drawing/2014/main" id="{664C003F-CAAD-4137-A80B-27517868192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77890" y="3520939"/>
            <a:ext cx="557171" cy="45728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marL="0" marR="0" lvl="0" indent="0" defTabSz="1119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20" b="0" i="0" u="none" strike="noStrike" kern="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EYInterstate" panose="02000503020000020004" pitchFamily="2" charset="0"/>
              <a:cs typeface="ＭＳ Ｐゴシック"/>
            </a:endParaRPr>
          </a:p>
        </p:txBody>
      </p:sp>
      <p:sp>
        <p:nvSpPr>
          <p:cNvPr id="56" name="Oval 4">
            <a:extLst>
              <a:ext uri="{FF2B5EF4-FFF2-40B4-BE49-F238E27FC236}">
                <a16:creationId xmlns:a16="http://schemas.microsoft.com/office/drawing/2014/main" id="{89E016CC-A93C-4087-9B4A-D1E51E485CB6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12094" y="3395404"/>
            <a:ext cx="575664" cy="677266"/>
          </a:xfrm>
          <a:prstGeom prst="ellipse">
            <a:avLst/>
          </a:prstGeom>
          <a:solidFill>
            <a:srgbClr val="FFFFFF"/>
          </a:solidFill>
          <a:ln w="9525" algn="ctr">
            <a:noFill/>
            <a:round/>
            <a:headEnd/>
            <a:tailEnd/>
          </a:ln>
        </p:spPr>
        <p:txBody>
          <a:bodyPr wrap="none" anchor="ctr" anchorCtr="0"/>
          <a:lstStyle/>
          <a:p>
            <a:pPr marL="0" marR="0" lvl="0" indent="0" defTabSz="1119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20" b="1" i="0" u="none" strike="noStrike" kern="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EYInterstate" panose="02000503020000020004" pitchFamily="2" charset="0"/>
              <a:cs typeface="ＭＳ Ｐゴシック"/>
            </a:endParaRPr>
          </a:p>
        </p:txBody>
      </p:sp>
      <p:sp>
        <p:nvSpPr>
          <p:cNvPr id="57" name="Oval 5">
            <a:extLst>
              <a:ext uri="{FF2B5EF4-FFF2-40B4-BE49-F238E27FC236}">
                <a16:creationId xmlns:a16="http://schemas.microsoft.com/office/drawing/2014/main" id="{C30D8423-37F3-45C4-AFDA-2A9508C2D33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93011" y="3497784"/>
            <a:ext cx="413831" cy="486242"/>
          </a:xfrm>
          <a:prstGeom prst="ellipse">
            <a:avLst/>
          </a:prstGeom>
          <a:solidFill>
            <a:srgbClr val="FFFF00"/>
          </a:solidFill>
          <a:ln w="9525" algn="ctr">
            <a:noFill/>
            <a:round/>
            <a:headEnd/>
            <a:tailEnd/>
          </a:ln>
        </p:spPr>
        <p:txBody>
          <a:bodyPr wrap="none" anchor="ctr" anchorCtr="0"/>
          <a:lstStyle/>
          <a:p>
            <a:pPr marL="0" marR="0" lvl="0" indent="0" algn="ctr" defTabSz="11195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20" b="1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cs typeface="ＭＳ Ｐゴシック"/>
              </a:rPr>
              <a:t>3</a:t>
            </a:r>
          </a:p>
        </p:txBody>
      </p:sp>
      <p:sp>
        <p:nvSpPr>
          <p:cNvPr id="59" name="Oval 4">
            <a:extLst>
              <a:ext uri="{FF2B5EF4-FFF2-40B4-BE49-F238E27FC236}">
                <a16:creationId xmlns:a16="http://schemas.microsoft.com/office/drawing/2014/main" id="{594D863E-2A13-4A33-BDE2-A77CB020EF09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12094" y="4017529"/>
            <a:ext cx="575664" cy="677266"/>
          </a:xfrm>
          <a:prstGeom prst="ellipse">
            <a:avLst/>
          </a:prstGeom>
          <a:solidFill>
            <a:srgbClr val="FFFFFF"/>
          </a:solidFill>
          <a:ln w="9525" algn="ctr">
            <a:noFill/>
            <a:round/>
            <a:headEnd/>
            <a:tailEnd/>
          </a:ln>
        </p:spPr>
        <p:txBody>
          <a:bodyPr wrap="none" anchor="ctr" anchorCtr="0"/>
          <a:lstStyle/>
          <a:p>
            <a:pPr marL="0" marR="0" lvl="0" indent="0" defTabSz="1119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20" b="1" i="0" u="none" strike="noStrike" kern="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EYInterstate" panose="02000503020000020004" pitchFamily="2" charset="0"/>
              <a:cs typeface="ＭＳ Ｐゴシック"/>
            </a:endParaRPr>
          </a:p>
        </p:txBody>
      </p:sp>
      <p:sp>
        <p:nvSpPr>
          <p:cNvPr id="63" name="Rectangle 3">
            <a:extLst>
              <a:ext uri="{FF2B5EF4-FFF2-40B4-BE49-F238E27FC236}">
                <a16:creationId xmlns:a16="http://schemas.microsoft.com/office/drawing/2014/main" id="{F333CD3B-AD14-421D-A684-42F79C3C22E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45008" y="4136196"/>
            <a:ext cx="5537932" cy="43413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marL="202259" marR="0" lvl="0" indent="0" defTabSz="1119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2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cs typeface="ＭＳ Ｐゴシック"/>
              </a:rPr>
              <a:t>Conclusiones y </a:t>
            </a:r>
            <a:r>
              <a:rPr kumimoji="0" lang="es-ES" sz="1820" b="0" i="1" u="none" strike="noStrike" kern="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cs typeface="ＭＳ Ｐゴシック"/>
              </a:rPr>
              <a:t>dashboard</a:t>
            </a:r>
            <a:endParaRPr kumimoji="0" lang="es-ES" sz="1820" b="0" i="1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EYInterstate" panose="02000503020000020004" pitchFamily="2" charset="0"/>
              <a:cs typeface="ＭＳ Ｐゴシック"/>
            </a:endParaRPr>
          </a:p>
        </p:txBody>
      </p:sp>
      <p:sp>
        <p:nvSpPr>
          <p:cNvPr id="64" name="Rectangle 3">
            <a:extLst>
              <a:ext uri="{FF2B5EF4-FFF2-40B4-BE49-F238E27FC236}">
                <a16:creationId xmlns:a16="http://schemas.microsoft.com/office/drawing/2014/main" id="{F2A65A05-7559-4F19-A9E3-4DE249B2C22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77890" y="4136196"/>
            <a:ext cx="557171" cy="45728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marL="0" marR="0" lvl="0" indent="0" defTabSz="1119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20" b="0" i="0" u="none" strike="noStrike" kern="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EYInterstate" panose="02000503020000020004" pitchFamily="2" charset="0"/>
              <a:cs typeface="ＭＳ Ｐゴシック"/>
            </a:endParaRPr>
          </a:p>
        </p:txBody>
      </p:sp>
      <p:sp>
        <p:nvSpPr>
          <p:cNvPr id="61" name="Oval 4">
            <a:extLst>
              <a:ext uri="{FF2B5EF4-FFF2-40B4-BE49-F238E27FC236}">
                <a16:creationId xmlns:a16="http://schemas.microsoft.com/office/drawing/2014/main" id="{6151E8F0-BA6C-42E3-B6DC-BA26840F391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19379" y="4011503"/>
            <a:ext cx="575664" cy="677266"/>
          </a:xfrm>
          <a:prstGeom prst="ellipse">
            <a:avLst/>
          </a:prstGeom>
          <a:solidFill>
            <a:srgbClr val="FFFFFF"/>
          </a:solidFill>
          <a:ln w="9525" algn="ctr">
            <a:noFill/>
            <a:round/>
            <a:headEnd/>
            <a:tailEnd/>
          </a:ln>
        </p:spPr>
        <p:txBody>
          <a:bodyPr wrap="none" anchor="ctr" anchorCtr="0"/>
          <a:lstStyle/>
          <a:p>
            <a:pPr marL="0" marR="0" lvl="0" indent="0" defTabSz="1119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20" b="0" i="0" u="none" strike="noStrike" kern="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EYInterstate" panose="02000503020000020004" pitchFamily="2" charset="0"/>
              <a:cs typeface="ＭＳ Ｐゴシック"/>
            </a:endParaRPr>
          </a:p>
        </p:txBody>
      </p:sp>
      <p:sp>
        <p:nvSpPr>
          <p:cNvPr id="62" name="Oval 5">
            <a:extLst>
              <a:ext uri="{FF2B5EF4-FFF2-40B4-BE49-F238E27FC236}">
                <a16:creationId xmlns:a16="http://schemas.microsoft.com/office/drawing/2014/main" id="{FD69E99F-6F6F-4141-A048-3C7002CB7ED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93011" y="4113041"/>
            <a:ext cx="413831" cy="486242"/>
          </a:xfrm>
          <a:prstGeom prst="ellipse">
            <a:avLst/>
          </a:prstGeom>
          <a:solidFill>
            <a:srgbClr val="FFFF00"/>
          </a:solidFill>
          <a:ln w="9525" algn="ctr">
            <a:noFill/>
            <a:round/>
            <a:headEnd/>
            <a:tailEnd/>
          </a:ln>
        </p:spPr>
        <p:txBody>
          <a:bodyPr wrap="none" anchor="ctr" anchorCtr="0"/>
          <a:lstStyle/>
          <a:p>
            <a:pPr marL="0" marR="0" lvl="0" indent="0" algn="ctr" defTabSz="11195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20" b="1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cs typeface="ＭＳ Ｐゴシック"/>
              </a:rPr>
              <a:t>4</a:t>
            </a:r>
          </a:p>
        </p:txBody>
      </p:sp>
      <p:sp>
        <p:nvSpPr>
          <p:cNvPr id="80" name="Rectangle 3">
            <a:extLst>
              <a:ext uri="{FF2B5EF4-FFF2-40B4-BE49-F238E27FC236}">
                <a16:creationId xmlns:a16="http://schemas.microsoft.com/office/drawing/2014/main" id="{4A168968-B450-4CE1-A7FC-68003CB7D02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45008" y="2897972"/>
            <a:ext cx="5537932" cy="43413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marL="202259" marR="0" lvl="0" indent="0" defTabSz="1119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20" b="0" i="0" u="none" strike="noStrike" kern="0" cap="none" spc="0" normalizeH="0" baseline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cs typeface="ＭＳ Ｐゴシック"/>
              </a:rPr>
              <a:t>Metodología</a:t>
            </a:r>
          </a:p>
        </p:txBody>
      </p:sp>
      <p:sp>
        <p:nvSpPr>
          <p:cNvPr id="81" name="Rectangle 3">
            <a:extLst>
              <a:ext uri="{FF2B5EF4-FFF2-40B4-BE49-F238E27FC236}">
                <a16:creationId xmlns:a16="http://schemas.microsoft.com/office/drawing/2014/main" id="{10041645-928F-49CF-9F98-2279D3A9DBD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77890" y="2897972"/>
            <a:ext cx="557171" cy="45728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marL="0" marR="0" lvl="0" indent="0" defTabSz="1119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20" b="0" i="0" u="none" strike="noStrike" kern="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EYInterstate" panose="02000503020000020004" pitchFamily="2" charset="0"/>
              <a:cs typeface="ＭＳ Ｐゴシック"/>
            </a:endParaRPr>
          </a:p>
        </p:txBody>
      </p:sp>
      <p:sp>
        <p:nvSpPr>
          <p:cNvPr id="82" name="Oval 4">
            <a:extLst>
              <a:ext uri="{FF2B5EF4-FFF2-40B4-BE49-F238E27FC236}">
                <a16:creationId xmlns:a16="http://schemas.microsoft.com/office/drawing/2014/main" id="{9971915C-806A-4155-8E1F-B23FEE56C74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12094" y="2779305"/>
            <a:ext cx="575664" cy="677266"/>
          </a:xfrm>
          <a:prstGeom prst="ellipse">
            <a:avLst/>
          </a:prstGeom>
          <a:solidFill>
            <a:srgbClr val="FFFFFF"/>
          </a:solidFill>
          <a:ln w="9525" algn="ctr">
            <a:noFill/>
            <a:round/>
            <a:headEnd/>
            <a:tailEnd/>
          </a:ln>
        </p:spPr>
        <p:txBody>
          <a:bodyPr wrap="none" anchor="ctr" anchorCtr="0"/>
          <a:lstStyle/>
          <a:p>
            <a:pPr marL="0" marR="0" lvl="0" indent="0" defTabSz="1119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20" b="1" i="0" u="none" strike="noStrike" kern="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EYInterstate" panose="02000503020000020004" pitchFamily="2" charset="0"/>
              <a:cs typeface="ＭＳ Ｐゴシック"/>
            </a:endParaRPr>
          </a:p>
        </p:txBody>
      </p:sp>
      <p:sp>
        <p:nvSpPr>
          <p:cNvPr id="83" name="Oval 5">
            <a:extLst>
              <a:ext uri="{FF2B5EF4-FFF2-40B4-BE49-F238E27FC236}">
                <a16:creationId xmlns:a16="http://schemas.microsoft.com/office/drawing/2014/main" id="{BFCFE4FF-1ADC-4026-AD13-23A3099E4FE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93011" y="2874817"/>
            <a:ext cx="413831" cy="486242"/>
          </a:xfrm>
          <a:prstGeom prst="ellipse">
            <a:avLst/>
          </a:prstGeom>
          <a:solidFill>
            <a:srgbClr val="FFFF00"/>
          </a:solidFill>
          <a:ln w="9525" algn="ctr">
            <a:noFill/>
            <a:round/>
            <a:headEnd/>
            <a:tailEnd/>
          </a:ln>
        </p:spPr>
        <p:txBody>
          <a:bodyPr wrap="none" anchor="ctr" anchorCtr="0"/>
          <a:lstStyle/>
          <a:p>
            <a:pPr marL="0" marR="0" lvl="0" indent="0" algn="ctr" defTabSz="11195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20" b="1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cs typeface="ＭＳ Ｐゴシック"/>
              </a:rPr>
              <a:t>2</a:t>
            </a:r>
          </a:p>
        </p:txBody>
      </p:sp>
      <p:sp>
        <p:nvSpPr>
          <p:cNvPr id="122" name="Flowchart: Data 121">
            <a:extLst>
              <a:ext uri="{FF2B5EF4-FFF2-40B4-BE49-F238E27FC236}">
                <a16:creationId xmlns:a16="http://schemas.microsoft.com/office/drawing/2014/main" id="{CDFF38A2-7742-46F0-A952-665341035F3E}"/>
              </a:ext>
            </a:extLst>
          </p:cNvPr>
          <p:cNvSpPr/>
          <p:nvPr/>
        </p:nvSpPr>
        <p:spPr>
          <a:xfrm>
            <a:off x="4812370" y="0"/>
            <a:ext cx="6388100" cy="6858000"/>
          </a:xfrm>
          <a:prstGeom prst="flowChartInputOutput">
            <a:avLst/>
          </a:prstGeom>
          <a:solidFill>
            <a:srgbClr val="32C3FF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94169129-8B2A-4E02-9790-62BD41096DE5}"/>
              </a:ext>
            </a:extLst>
          </p:cNvPr>
          <p:cNvSpPr/>
          <p:nvPr/>
        </p:nvSpPr>
        <p:spPr>
          <a:xfrm>
            <a:off x="6096001" y="0"/>
            <a:ext cx="6096000" cy="6858000"/>
          </a:xfrm>
          <a:prstGeom prst="rect">
            <a:avLst/>
          </a:prstGeom>
          <a:solidFill>
            <a:srgbClr val="32C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s-ES"/>
          </a:p>
        </p:txBody>
      </p:sp>
      <p:sp>
        <p:nvSpPr>
          <p:cNvPr id="125" name="Flowchart: Data 124">
            <a:extLst>
              <a:ext uri="{FF2B5EF4-FFF2-40B4-BE49-F238E27FC236}">
                <a16:creationId xmlns:a16="http://schemas.microsoft.com/office/drawing/2014/main" id="{C7CEDF86-3601-4434-A0F9-1396027ED46D}"/>
              </a:ext>
            </a:extLst>
          </p:cNvPr>
          <p:cNvSpPr/>
          <p:nvPr/>
        </p:nvSpPr>
        <p:spPr>
          <a:xfrm rot="650056" flipH="1">
            <a:off x="5396288" y="-69706"/>
            <a:ext cx="112695" cy="6991904"/>
          </a:xfrm>
          <a:prstGeom prst="flowChartInputOutpu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30" name="Graphic 29" descr="Home outline">
            <a:extLst>
              <a:ext uri="{FF2B5EF4-FFF2-40B4-BE49-F238E27FC236}">
                <a16:creationId xmlns:a16="http://schemas.microsoft.com/office/drawing/2014/main" id="{B8EFDE25-68AE-4971-AE6D-CC75C486E2F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583109" y="4249109"/>
            <a:ext cx="2608891" cy="2608891"/>
          </a:xfrm>
          <a:prstGeom prst="rect">
            <a:avLst/>
          </a:prstGeom>
        </p:spPr>
      </p:pic>
      <p:pic>
        <p:nvPicPr>
          <p:cNvPr id="31" name="Graphic 30" descr="Home outline">
            <a:extLst>
              <a:ext uri="{FF2B5EF4-FFF2-40B4-BE49-F238E27FC236}">
                <a16:creationId xmlns:a16="http://schemas.microsoft.com/office/drawing/2014/main" id="{CDD50DB6-7FAF-4214-AF84-062DE38F4B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756288" y="4649112"/>
            <a:ext cx="2156108" cy="2156108"/>
          </a:xfrm>
          <a:prstGeom prst="rect">
            <a:avLst/>
          </a:prstGeom>
        </p:spPr>
      </p:pic>
      <p:pic>
        <p:nvPicPr>
          <p:cNvPr id="32" name="Graphic 31" descr="Home outline">
            <a:extLst>
              <a:ext uri="{FF2B5EF4-FFF2-40B4-BE49-F238E27FC236}">
                <a16:creationId xmlns:a16="http://schemas.microsoft.com/office/drawing/2014/main" id="{5FB51E29-3423-45EB-A810-AB3F5FC44CE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65661" y="5119787"/>
            <a:ext cx="1619915" cy="161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4963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2D60BF-D2CB-46ED-AF4D-D588879D5F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2694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2D60BF-D2CB-46ED-AF4D-D588879D5F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20B3CF-A5C7-45DB-9513-5AB9F3BD2A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0554" y="2002632"/>
            <a:ext cx="7359650" cy="2852737"/>
          </a:xfrm>
        </p:spPr>
        <p:txBody>
          <a:bodyPr vert="horz"/>
          <a:lstStyle/>
          <a:p>
            <a:r>
              <a:rPr lang="es-ES" dirty="0"/>
              <a:t>Contexto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84F22B1-1CFE-4835-A8B7-4E4FB44706E4}"/>
              </a:ext>
            </a:extLst>
          </p:cNvPr>
          <p:cNvSpPr txBox="1">
            <a:spLocks noChangeAspect="1"/>
          </p:cNvSpPr>
          <p:nvPr/>
        </p:nvSpPr>
        <p:spPr>
          <a:xfrm>
            <a:off x="1487057" y="2105563"/>
            <a:ext cx="1871155" cy="264687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s-ES" sz="16600">
                <a:solidFill>
                  <a:srgbClr val="32C3FF"/>
                </a:solidFill>
              </a:rPr>
              <a:t>1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6DE04A9-FED4-4753-8B9E-23DF65C24163}"/>
              </a:ext>
            </a:extLst>
          </p:cNvPr>
          <p:cNvGrpSpPr/>
          <p:nvPr/>
        </p:nvGrpSpPr>
        <p:grpSpPr>
          <a:xfrm>
            <a:off x="6465661" y="4249109"/>
            <a:ext cx="5726339" cy="2608891"/>
            <a:chOff x="6335217" y="3892273"/>
            <a:chExt cx="5726339" cy="2608891"/>
          </a:xfrm>
        </p:grpSpPr>
        <p:pic>
          <p:nvPicPr>
            <p:cNvPr id="5" name="Graphic 4" descr="Home outline">
              <a:extLst>
                <a:ext uri="{FF2B5EF4-FFF2-40B4-BE49-F238E27FC236}">
                  <a16:creationId xmlns:a16="http://schemas.microsoft.com/office/drawing/2014/main" id="{07C3704D-9ADE-4745-B24B-1E8AD6CB534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452665" y="3892273"/>
              <a:ext cx="2608891" cy="2608891"/>
            </a:xfrm>
            <a:prstGeom prst="rect">
              <a:avLst/>
            </a:prstGeom>
          </p:spPr>
        </p:pic>
        <p:pic>
          <p:nvPicPr>
            <p:cNvPr id="6" name="Graphic 5" descr="Home outline">
              <a:extLst>
                <a:ext uri="{FF2B5EF4-FFF2-40B4-BE49-F238E27FC236}">
                  <a16:creationId xmlns:a16="http://schemas.microsoft.com/office/drawing/2014/main" id="{238C63D6-A795-4E7C-8BC8-131132F0B67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625844" y="4292276"/>
              <a:ext cx="2156108" cy="2156108"/>
            </a:xfrm>
            <a:prstGeom prst="rect">
              <a:avLst/>
            </a:prstGeom>
          </p:spPr>
        </p:pic>
        <p:pic>
          <p:nvPicPr>
            <p:cNvPr id="7" name="Graphic 6" descr="Home outline">
              <a:extLst>
                <a:ext uri="{FF2B5EF4-FFF2-40B4-BE49-F238E27FC236}">
                  <a16:creationId xmlns:a16="http://schemas.microsoft.com/office/drawing/2014/main" id="{B40A784D-155E-44F5-A832-4EDCACA2FEB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335217" y="4762951"/>
              <a:ext cx="1619915" cy="16199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050976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736897-BFA9-41AC-9FCD-17A27AC24D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319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736897-BFA9-41AC-9FCD-17A27AC24D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Group 21">
            <a:extLst>
              <a:ext uri="{FF2B5EF4-FFF2-40B4-BE49-F238E27FC236}">
                <a16:creationId xmlns:a16="http://schemas.microsoft.com/office/drawing/2014/main" id="{1DF6FB86-1CC8-4547-B84C-16C04BB85650}"/>
              </a:ext>
            </a:extLst>
          </p:cNvPr>
          <p:cNvGrpSpPr/>
          <p:nvPr/>
        </p:nvGrpSpPr>
        <p:grpSpPr>
          <a:xfrm>
            <a:off x="8247290" y="1065906"/>
            <a:ext cx="3439885" cy="5138794"/>
            <a:chOff x="8247290" y="1065906"/>
            <a:chExt cx="3439885" cy="5138794"/>
          </a:xfrm>
          <a:effectLst>
            <a:outerShdw blurRad="50800" dist="38100" dir="2700000" algn="tl" rotWithShape="0">
              <a:srgbClr val="32C3FF">
                <a:alpha val="60000"/>
              </a:srgbClr>
            </a:outerShdw>
          </a:effectLst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29B4F23-6E73-4CA6-81B1-72E7D1FD79B5}"/>
                </a:ext>
              </a:extLst>
            </p:cNvPr>
            <p:cNvSpPr/>
            <p:nvPr/>
          </p:nvSpPr>
          <p:spPr>
            <a:xfrm>
              <a:off x="8247290" y="1327900"/>
              <a:ext cx="3439885" cy="48768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32C3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150000"/>
                </a:lnSpc>
              </a:pPr>
              <a:endParaRPr lang="es-ES" b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1FE285D-8F4E-4C47-A5B2-62058810ADDE}"/>
                </a:ext>
              </a:extLst>
            </p:cNvPr>
            <p:cNvSpPr/>
            <p:nvPr/>
          </p:nvSpPr>
          <p:spPr>
            <a:xfrm>
              <a:off x="9156587" y="1065906"/>
              <a:ext cx="1621291" cy="463342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32C3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b="1">
                  <a:solidFill>
                    <a:srgbClr val="32C3FF"/>
                  </a:solidFill>
                </a:rPr>
                <a:t>Objetivo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68B53F-2752-4546-BE0D-895F56F8BDE7}"/>
              </a:ext>
            </a:extLst>
          </p:cNvPr>
          <p:cNvGrpSpPr/>
          <p:nvPr/>
        </p:nvGrpSpPr>
        <p:grpSpPr>
          <a:xfrm>
            <a:off x="4386581" y="1065906"/>
            <a:ext cx="3439885" cy="5108471"/>
            <a:chOff x="4385582" y="1065906"/>
            <a:chExt cx="3439885" cy="5108471"/>
          </a:xfrm>
          <a:effectLst>
            <a:outerShdw blurRad="50800" dist="38100" dir="2700000" algn="tl" rotWithShape="0">
              <a:srgbClr val="32C3FF">
                <a:alpha val="60000"/>
              </a:srgbClr>
            </a:outerShdw>
          </a:effectLst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58E72ED5-6DEA-4E02-924F-08425D78FBA9}"/>
                </a:ext>
              </a:extLst>
            </p:cNvPr>
            <p:cNvSpPr/>
            <p:nvPr/>
          </p:nvSpPr>
          <p:spPr>
            <a:xfrm>
              <a:off x="4385582" y="1297577"/>
              <a:ext cx="3439885" cy="48768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32C3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150000"/>
                </a:lnSpc>
              </a:pPr>
              <a:endParaRPr lang="es-ES" b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A173CE9-C5A9-44C7-94C1-5148588C74D1}"/>
                </a:ext>
              </a:extLst>
            </p:cNvPr>
            <p:cNvSpPr/>
            <p:nvPr/>
          </p:nvSpPr>
          <p:spPr>
            <a:xfrm>
              <a:off x="5294879" y="1065906"/>
              <a:ext cx="1621291" cy="463342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32C3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b="1" i="1">
                  <a:solidFill>
                    <a:srgbClr val="32C3FF"/>
                  </a:solidFill>
                </a:rPr>
                <a:t>Dataset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25C1974-CC85-47CA-AB07-7552CBF3CA7B}"/>
              </a:ext>
            </a:extLst>
          </p:cNvPr>
          <p:cNvGrpSpPr/>
          <p:nvPr/>
        </p:nvGrpSpPr>
        <p:grpSpPr>
          <a:xfrm>
            <a:off x="523875" y="1065906"/>
            <a:ext cx="3439885" cy="5108471"/>
            <a:chOff x="523875" y="1065906"/>
            <a:chExt cx="3439885" cy="5108471"/>
          </a:xfrm>
          <a:effectLst>
            <a:outerShdw blurRad="50800" dist="38100" dir="2700000" algn="tl" rotWithShape="0">
              <a:srgbClr val="32C3FF">
                <a:alpha val="60000"/>
              </a:srgbClr>
            </a:outerShdw>
          </a:effectLst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92DC524-ED47-43E5-AB29-FC6934A0BD14}"/>
                </a:ext>
              </a:extLst>
            </p:cNvPr>
            <p:cNvSpPr/>
            <p:nvPr/>
          </p:nvSpPr>
          <p:spPr>
            <a:xfrm>
              <a:off x="523875" y="1297577"/>
              <a:ext cx="3439885" cy="48768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32C3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150000"/>
                </a:lnSpc>
              </a:pPr>
              <a:endParaRPr lang="es-ES" b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7E0C103-F1D2-4126-A0AE-98E6EE4F0CCE}"/>
                </a:ext>
              </a:extLst>
            </p:cNvPr>
            <p:cNvSpPr/>
            <p:nvPr/>
          </p:nvSpPr>
          <p:spPr>
            <a:xfrm>
              <a:off x="1433172" y="1065906"/>
              <a:ext cx="1621291" cy="463342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32C3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b="1">
                  <a:solidFill>
                    <a:srgbClr val="32C3FF"/>
                  </a:solidFill>
                </a:rPr>
                <a:t>Problema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AB591CE-E7CD-4793-B511-01EEF4704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 b="1">
                <a:solidFill>
                  <a:schemeClr val="tx1">
                    <a:lumMod val="50000"/>
                    <a:lumOff val="50000"/>
                  </a:schemeClr>
                </a:solidFill>
              </a:rPr>
              <a:t>Contexto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D4CB53B-440D-43AA-97A4-B43AEFB0341D}"/>
              </a:ext>
            </a:extLst>
          </p:cNvPr>
          <p:cNvSpPr txBox="1"/>
          <p:nvPr/>
        </p:nvSpPr>
        <p:spPr>
          <a:xfrm>
            <a:off x="872217" y="4052773"/>
            <a:ext cx="27432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erminar el </a:t>
            </a:r>
            <a:r>
              <a:rPr lang="es-ES" b="1" dirty="0">
                <a:solidFill>
                  <a:srgbClr val="32C3FF"/>
                </a:solidFill>
              </a:rPr>
              <a:t>precio de venta</a:t>
            </a:r>
            <a:r>
              <a:rPr lang="es-E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 un inmueble a partir de las variables que influyen en el mismo</a:t>
            </a:r>
          </a:p>
        </p:txBody>
      </p:sp>
      <p:pic>
        <p:nvPicPr>
          <p:cNvPr id="10" name="Graphic 9" descr="Brainstorm with solid fill">
            <a:extLst>
              <a:ext uri="{FF2B5EF4-FFF2-40B4-BE49-F238E27FC236}">
                <a16:creationId xmlns:a16="http://schemas.microsoft.com/office/drawing/2014/main" id="{791B9BD6-BFA9-4333-B563-60292C7FB45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605635" y="2167045"/>
            <a:ext cx="1276364" cy="1276364"/>
          </a:xfrm>
          <a:prstGeom prst="rect">
            <a:avLst/>
          </a:prstGeom>
        </p:spPr>
      </p:pic>
      <p:pic>
        <p:nvPicPr>
          <p:cNvPr id="18" name="Graphic 17" descr="Customer review with solid fill">
            <a:extLst>
              <a:ext uri="{FF2B5EF4-FFF2-40B4-BE49-F238E27FC236}">
                <a16:creationId xmlns:a16="http://schemas.microsoft.com/office/drawing/2014/main" id="{B7EB6BC2-A2F2-4E7C-A707-A2FC40AF286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467342" y="2167045"/>
            <a:ext cx="1276364" cy="127636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5E336B9-ED1D-454B-BCCF-FC8CD5975228}"/>
              </a:ext>
            </a:extLst>
          </p:cNvPr>
          <p:cNvSpPr txBox="1"/>
          <p:nvPr/>
        </p:nvSpPr>
        <p:spPr>
          <a:xfrm>
            <a:off x="8428264" y="3914273"/>
            <a:ext cx="307793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struir un </a:t>
            </a:r>
            <a:r>
              <a:rPr lang="es-ES" b="1" dirty="0">
                <a:solidFill>
                  <a:srgbClr val="32C3FF"/>
                </a:solidFill>
              </a:rPr>
              <a:t>modelo de </a:t>
            </a:r>
            <a:r>
              <a:rPr lang="es-ES" b="1" i="1" dirty="0">
                <a:solidFill>
                  <a:srgbClr val="32C3FF"/>
                </a:solidFill>
              </a:rPr>
              <a:t>machine learning </a:t>
            </a: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ara </a:t>
            </a:r>
            <a:r>
              <a:rPr lang="es-ES" b="1" dirty="0">
                <a:solidFill>
                  <a:srgbClr val="32C3FF"/>
                </a:solidFill>
              </a:rPr>
              <a:t>predecir</a:t>
            </a: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el </a:t>
            </a:r>
            <a:r>
              <a:rPr lang="es-ES" b="1" dirty="0">
                <a:solidFill>
                  <a:srgbClr val="32C3FF"/>
                </a:solidFill>
              </a:rPr>
              <a:t>precio de venta de los inmuebles </a:t>
            </a: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 función de las características</a:t>
            </a:r>
          </a:p>
        </p:txBody>
      </p:sp>
      <p:pic>
        <p:nvPicPr>
          <p:cNvPr id="16" name="Graphic 15" descr="Playbook with solid fill">
            <a:extLst>
              <a:ext uri="{FF2B5EF4-FFF2-40B4-BE49-F238E27FC236}">
                <a16:creationId xmlns:a16="http://schemas.microsoft.com/office/drawing/2014/main" id="{40098F37-8D30-4414-B42D-5D9E10A6D1F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329050" y="2125086"/>
            <a:ext cx="1276364" cy="1276364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2B71ADF5-9050-424D-A067-A0111E2113C6}"/>
              </a:ext>
            </a:extLst>
          </p:cNvPr>
          <p:cNvSpPr txBox="1"/>
          <p:nvPr/>
        </p:nvSpPr>
        <p:spPr>
          <a:xfrm>
            <a:off x="4724400" y="3914273"/>
            <a:ext cx="27432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algn="ctr"/>
            <a:r>
              <a:rPr lang="es-ES" dirty="0"/>
              <a:t>Se dispone de un </a:t>
            </a:r>
            <a:r>
              <a:rPr lang="es-ES" b="1" i="1" dirty="0">
                <a:solidFill>
                  <a:srgbClr val="32C3FF"/>
                </a:solidFill>
              </a:rPr>
              <a:t>dataset</a:t>
            </a:r>
            <a:r>
              <a:rPr lang="es-ES" dirty="0"/>
              <a:t> que contiene los </a:t>
            </a:r>
            <a:r>
              <a:rPr lang="es-ES" b="1" dirty="0">
                <a:solidFill>
                  <a:srgbClr val="32C3FF"/>
                </a:solidFill>
              </a:rPr>
              <a:t>precios de inmuebles vendidos </a:t>
            </a:r>
            <a:r>
              <a:rPr lang="es-ES" dirty="0"/>
              <a:t>desde 1990 hasta 2015 con sus respectivas variables</a:t>
            </a:r>
            <a:r>
              <a:rPr lang="es-ES" baseline="30000" dirty="0"/>
              <a:t>1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5927A2D-9540-40DB-A497-AE68B4C5C434}"/>
              </a:ext>
            </a:extLst>
          </p:cNvPr>
          <p:cNvSpPr txBox="1"/>
          <p:nvPr/>
        </p:nvSpPr>
        <p:spPr>
          <a:xfrm>
            <a:off x="523875" y="6341594"/>
            <a:ext cx="111633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s-ES" sz="1000" baseline="30000"/>
              <a:t>1</a:t>
            </a:r>
            <a:r>
              <a:rPr lang="es-ES" sz="1000"/>
              <a:t> </a:t>
            </a:r>
            <a:r>
              <a:rPr lang="en-US" sz="1000" i="1"/>
              <a:t>id, date, bedrooms, bathrooms, </a:t>
            </a:r>
            <a:r>
              <a:rPr lang="en-US" sz="1000" i="1" err="1"/>
              <a:t>sqft_living</a:t>
            </a:r>
            <a:r>
              <a:rPr lang="en-US" sz="1000" i="1"/>
              <a:t>, </a:t>
            </a:r>
            <a:r>
              <a:rPr lang="en-US" sz="1000" i="1" err="1"/>
              <a:t>sqft_lot</a:t>
            </a:r>
            <a:r>
              <a:rPr lang="en-US" sz="1000" i="1"/>
              <a:t>, floors, waterfront, view, condition, grade, </a:t>
            </a:r>
            <a:r>
              <a:rPr lang="en-US" sz="1000" i="1" err="1"/>
              <a:t>sqft_above</a:t>
            </a:r>
            <a:r>
              <a:rPr lang="en-US" sz="1000" i="1"/>
              <a:t>, </a:t>
            </a:r>
            <a:r>
              <a:rPr lang="en-US" sz="1000" i="1" err="1"/>
              <a:t>sqft_basement</a:t>
            </a:r>
            <a:r>
              <a:rPr lang="en-US" sz="1000" i="1"/>
              <a:t>, </a:t>
            </a:r>
            <a:r>
              <a:rPr lang="en-US" sz="1000" i="1" err="1"/>
              <a:t>yr_built</a:t>
            </a:r>
            <a:r>
              <a:rPr lang="en-US" sz="1000" i="1"/>
              <a:t>, </a:t>
            </a:r>
            <a:r>
              <a:rPr lang="en-US" sz="1000" i="1" err="1"/>
              <a:t>yr_renovated</a:t>
            </a:r>
            <a:r>
              <a:rPr lang="en-US" sz="1000" i="1"/>
              <a:t>, </a:t>
            </a:r>
            <a:r>
              <a:rPr lang="en-US" sz="1000" i="1" err="1"/>
              <a:t>zip_code</a:t>
            </a:r>
            <a:r>
              <a:rPr lang="en-US" sz="1000" i="1"/>
              <a:t>, </a:t>
            </a:r>
            <a:r>
              <a:rPr lang="en-US" sz="1000" i="1" err="1"/>
              <a:t>lat</a:t>
            </a:r>
            <a:r>
              <a:rPr lang="en-US" sz="1000" i="1"/>
              <a:t>, </a:t>
            </a:r>
            <a:r>
              <a:rPr lang="en-US" sz="1000" i="1" err="1"/>
              <a:t>lon</a:t>
            </a:r>
            <a:r>
              <a:rPr lang="en-US" sz="1000" i="1"/>
              <a:t>, sqft_living15, sqft_lot15, price</a:t>
            </a:r>
            <a:endParaRPr lang="es-ES" sz="1000"/>
          </a:p>
        </p:txBody>
      </p:sp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C8338F1F-A5A0-46F4-B510-5154A26FEA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2143DE-C839-41A0-A357-A80D44BA564F}" type="slidenum">
              <a:rPr lang="es-ES" smtClean="0"/>
              <a:pPr/>
              <a:t>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504119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2D60BF-D2CB-46ED-AF4D-D588879D5F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4781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2D60BF-D2CB-46ED-AF4D-D588879D5F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20B3CF-A5C7-45DB-9513-5AB9F3BD2A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473" y="2002632"/>
            <a:ext cx="7359650" cy="2852737"/>
          </a:xfrm>
        </p:spPr>
        <p:txBody>
          <a:bodyPr vert="horz"/>
          <a:lstStyle/>
          <a:p>
            <a:r>
              <a:rPr lang="es-ES" dirty="0"/>
              <a:t>Metodologí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84F22B1-1CFE-4835-A8B7-4E4FB44706E4}"/>
              </a:ext>
            </a:extLst>
          </p:cNvPr>
          <p:cNvSpPr txBox="1">
            <a:spLocks noChangeAspect="1"/>
          </p:cNvSpPr>
          <p:nvPr/>
        </p:nvSpPr>
        <p:spPr>
          <a:xfrm>
            <a:off x="1487057" y="2105563"/>
            <a:ext cx="1871155" cy="264687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s-ES" sz="16600">
                <a:solidFill>
                  <a:srgbClr val="32C3FF"/>
                </a:solidFill>
              </a:rPr>
              <a:t>2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EB25B14-D537-4F43-8557-F81FEB978B65}"/>
              </a:ext>
            </a:extLst>
          </p:cNvPr>
          <p:cNvGrpSpPr/>
          <p:nvPr/>
        </p:nvGrpSpPr>
        <p:grpSpPr>
          <a:xfrm>
            <a:off x="6465661" y="4249109"/>
            <a:ext cx="5726339" cy="2608891"/>
            <a:chOff x="6335217" y="3892273"/>
            <a:chExt cx="5726339" cy="2608891"/>
          </a:xfrm>
        </p:grpSpPr>
        <p:pic>
          <p:nvPicPr>
            <p:cNvPr id="6" name="Graphic 5" descr="Home outline">
              <a:extLst>
                <a:ext uri="{FF2B5EF4-FFF2-40B4-BE49-F238E27FC236}">
                  <a16:creationId xmlns:a16="http://schemas.microsoft.com/office/drawing/2014/main" id="{CA9A272B-08B7-4FE4-BA07-4BB751E6438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452665" y="3892273"/>
              <a:ext cx="2608891" cy="2608891"/>
            </a:xfrm>
            <a:prstGeom prst="rect">
              <a:avLst/>
            </a:prstGeom>
          </p:spPr>
        </p:pic>
        <p:pic>
          <p:nvPicPr>
            <p:cNvPr id="7" name="Graphic 6" descr="Home outline">
              <a:extLst>
                <a:ext uri="{FF2B5EF4-FFF2-40B4-BE49-F238E27FC236}">
                  <a16:creationId xmlns:a16="http://schemas.microsoft.com/office/drawing/2014/main" id="{2B91B8E1-CBC3-4177-BAC2-7446C41B080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625844" y="4292276"/>
              <a:ext cx="2156108" cy="2156108"/>
            </a:xfrm>
            <a:prstGeom prst="rect">
              <a:avLst/>
            </a:prstGeom>
          </p:spPr>
        </p:pic>
        <p:pic>
          <p:nvPicPr>
            <p:cNvPr id="8" name="Graphic 7" descr="Home outline">
              <a:extLst>
                <a:ext uri="{FF2B5EF4-FFF2-40B4-BE49-F238E27FC236}">
                  <a16:creationId xmlns:a16="http://schemas.microsoft.com/office/drawing/2014/main" id="{275EDE77-0C12-4A00-9381-6E6D5EEF58B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335217" y="4762951"/>
              <a:ext cx="1619915" cy="16199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622558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736897-BFA9-41AC-9FCD-17A27AC24D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8510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736897-BFA9-41AC-9FCD-17A27AC24D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AB591CE-E7CD-4793-B511-01EEF4704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 b="1">
                <a:solidFill>
                  <a:schemeClr val="tx1">
                    <a:lumMod val="50000"/>
                    <a:lumOff val="50000"/>
                  </a:schemeClr>
                </a:solidFill>
              </a:rPr>
              <a:t>Metodología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CEC085D-6426-44B3-BE5D-037F39A639BE}"/>
              </a:ext>
            </a:extLst>
          </p:cNvPr>
          <p:cNvGrpSpPr/>
          <p:nvPr/>
        </p:nvGrpSpPr>
        <p:grpSpPr>
          <a:xfrm>
            <a:off x="3212789" y="4772715"/>
            <a:ext cx="8007471" cy="1201189"/>
            <a:chOff x="3212789" y="4772715"/>
            <a:chExt cx="8007471" cy="1201189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5CE0F25-FB00-4F16-8785-DB700198EF7F}"/>
                </a:ext>
              </a:extLst>
            </p:cNvPr>
            <p:cNvSpPr/>
            <p:nvPr/>
          </p:nvSpPr>
          <p:spPr>
            <a:xfrm>
              <a:off x="4164260" y="4772715"/>
              <a:ext cx="7056000" cy="1201189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32C3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r>
                <a:rPr lang="es-ES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Con </a:t>
              </a:r>
              <a:r>
                <a:rPr lang="es-ES" b="1" dirty="0">
                  <a:solidFill>
                    <a:srgbClr val="32C3FF"/>
                  </a:solidFill>
                </a:rPr>
                <a:t>PowerBI </a:t>
              </a:r>
              <a:r>
                <a:rPr lang="es-ES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representamos gráficos que nos muestran relaciones entre las variables del </a:t>
              </a:r>
              <a:r>
                <a:rPr lang="es-ES" i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dataset</a:t>
              </a:r>
              <a:r>
                <a:rPr lang="es-ES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, aplicando filtros y comparando con la variable precio, vemos qué características de la casa influyen más</a:t>
              </a:r>
              <a:endParaRPr lang="es-ES" dirty="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1EFDB62-DB39-43E3-852F-39D83E113ECC}"/>
                </a:ext>
              </a:extLst>
            </p:cNvPr>
            <p:cNvSpPr/>
            <p:nvPr/>
          </p:nvSpPr>
          <p:spPr>
            <a:xfrm>
              <a:off x="4106211" y="4872536"/>
              <a:ext cx="120230" cy="10015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pic>
          <p:nvPicPr>
            <p:cNvPr id="21" name="Picture 20" descr="Logo&#10;&#10;Description automatically generated">
              <a:extLst>
                <a:ext uri="{FF2B5EF4-FFF2-40B4-BE49-F238E27FC236}">
                  <a16:creationId xmlns:a16="http://schemas.microsoft.com/office/drawing/2014/main" id="{05FCDA0C-AA45-4BDC-8ED7-17EE2D35604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12789" y="4815309"/>
              <a:ext cx="1069903" cy="1116000"/>
            </a:xfrm>
            <a:prstGeom prst="rect">
              <a:avLst/>
            </a:prstGeom>
          </p:spPr>
        </p:pic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F14C9F00-3A9E-4C5B-BBF6-F86B97E2E984}"/>
              </a:ext>
            </a:extLst>
          </p:cNvPr>
          <p:cNvSpPr/>
          <p:nvPr/>
        </p:nvSpPr>
        <p:spPr>
          <a:xfrm>
            <a:off x="3020075" y="3049123"/>
            <a:ext cx="7056000" cy="1201189"/>
          </a:xfrm>
          <a:prstGeom prst="rect">
            <a:avLst/>
          </a:prstGeom>
          <a:solidFill>
            <a:schemeClr val="bg1"/>
          </a:solidFill>
          <a:ln w="19050">
            <a:solidFill>
              <a:srgbClr val="32C3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tlCol="0" anchor="ctr"/>
          <a:lstStyle/>
          <a:p>
            <a:pPr>
              <a:buClr>
                <a:srgbClr val="FFFF00"/>
              </a:buClr>
            </a:pP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ando </a:t>
            </a:r>
            <a:r>
              <a:rPr lang="es-ES" b="1" dirty="0">
                <a:solidFill>
                  <a:srgbClr val="32C3FF"/>
                </a:solidFill>
              </a:rPr>
              <a:t>Python</a:t>
            </a: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se limpian los datos y se preparan para crear un modelo de </a:t>
            </a:r>
            <a:r>
              <a:rPr lang="es-ES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gression</a:t>
            </a: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posteriormente se itera para mejorar el resultado</a:t>
            </a:r>
            <a:endParaRPr lang="es-E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8970312-47ED-4D69-A206-579FC1A88AC3}"/>
              </a:ext>
            </a:extLst>
          </p:cNvPr>
          <p:cNvSpPr/>
          <p:nvPr/>
        </p:nvSpPr>
        <p:spPr>
          <a:xfrm>
            <a:off x="2964760" y="3148945"/>
            <a:ext cx="120230" cy="10015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7" name="Picture 16" descr="Icon&#10;&#10;Description automatically generated with medium confidence">
            <a:extLst>
              <a:ext uri="{FF2B5EF4-FFF2-40B4-BE49-F238E27FC236}">
                <a16:creationId xmlns:a16="http://schemas.microsoft.com/office/drawing/2014/main" id="{7CD2B965-EAB1-402D-9CE9-1D7DA34D4F48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2800" y="3091717"/>
            <a:ext cx="1116000" cy="11160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91FE91-53F5-4D4E-A61C-05D929EAAD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88435" y="6356350"/>
            <a:ext cx="298739" cy="365125"/>
          </a:xfrm>
        </p:spPr>
        <p:txBody>
          <a:bodyPr/>
          <a:lstStyle/>
          <a:p>
            <a:fld id="{0F2143DE-C839-41A0-A357-A80D44BA564F}" type="slidenum">
              <a:rPr lang="es-ES" smtClean="0"/>
              <a:pPr/>
              <a:t>6</a:t>
            </a:fld>
            <a:endParaRPr lang="es-ES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D9B6725-9773-49A3-A8D5-F166D5C997EE}"/>
              </a:ext>
            </a:extLst>
          </p:cNvPr>
          <p:cNvGrpSpPr/>
          <p:nvPr/>
        </p:nvGrpSpPr>
        <p:grpSpPr>
          <a:xfrm>
            <a:off x="971741" y="1325531"/>
            <a:ext cx="8013310" cy="1202852"/>
            <a:chOff x="2079328" y="3049123"/>
            <a:chExt cx="8013310" cy="1202852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36E7234-2C46-48EB-8396-5561CEE30719}"/>
                </a:ext>
              </a:extLst>
            </p:cNvPr>
            <p:cNvSpPr/>
            <p:nvPr/>
          </p:nvSpPr>
          <p:spPr>
            <a:xfrm>
              <a:off x="3036638" y="3049123"/>
              <a:ext cx="7056000" cy="1201189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32C3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>
                <a:buClr>
                  <a:srgbClr val="FFFF00"/>
                </a:buClr>
              </a:pPr>
              <a:r>
                <a:rPr lang="es-ES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En</a:t>
              </a:r>
              <a:r>
                <a:rPr lang="es-ES" b="1" dirty="0">
                  <a:solidFill>
                    <a:srgbClr val="32C3FF"/>
                  </a:solidFill>
                </a:rPr>
                <a:t> SQL</a:t>
              </a:r>
              <a:r>
                <a:rPr lang="es-ES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se realizan una serie de consultas que nos han permitido conocer la estructura y dimensiones del </a:t>
              </a:r>
              <a:r>
                <a:rPr lang="es-ES" i="1" dirty="0" err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dataset</a:t>
              </a:r>
              <a:endParaRPr lang="es-ES" i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69435A3-9A62-443C-A2B0-9CB0602BCE36}"/>
                </a:ext>
              </a:extLst>
            </p:cNvPr>
            <p:cNvSpPr/>
            <p:nvPr/>
          </p:nvSpPr>
          <p:spPr>
            <a:xfrm>
              <a:off x="2976523" y="3148945"/>
              <a:ext cx="120230" cy="10015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pic>
          <p:nvPicPr>
            <p:cNvPr id="19" name="Picture 18" descr="Shape, arrow&#10;&#10;Description automatically generated">
              <a:extLst>
                <a:ext uri="{FF2B5EF4-FFF2-40B4-BE49-F238E27FC236}">
                  <a16:creationId xmlns:a16="http://schemas.microsoft.com/office/drawing/2014/main" id="{3F5C019E-9C06-47E2-8A4D-BE6125E4387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clrChange>
                <a:clrFrom>
                  <a:srgbClr val="EDEDED"/>
                </a:clrFrom>
                <a:clrTo>
                  <a:srgbClr val="EDEDED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9328" y="3091717"/>
              <a:ext cx="1116000" cy="1116000"/>
            </a:xfrm>
            <a:prstGeom prst="rect">
              <a:avLst/>
            </a:prstGeom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A1E771E-E4D5-4511-AFB3-16E8CA9A6324}"/>
                </a:ext>
              </a:extLst>
            </p:cNvPr>
            <p:cNvSpPr/>
            <p:nvPr/>
          </p:nvSpPr>
          <p:spPr>
            <a:xfrm>
              <a:off x="3028090" y="3064147"/>
              <a:ext cx="14570" cy="84797"/>
            </a:xfrm>
            <a:prstGeom prst="rect">
              <a:avLst/>
            </a:prstGeom>
            <a:solidFill>
              <a:srgbClr val="32C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277C564-FCB4-48F7-8E3D-0F57E183F661}"/>
                </a:ext>
              </a:extLst>
            </p:cNvPr>
            <p:cNvSpPr/>
            <p:nvPr/>
          </p:nvSpPr>
          <p:spPr>
            <a:xfrm>
              <a:off x="3029479" y="4167178"/>
              <a:ext cx="16027" cy="84797"/>
            </a:xfrm>
            <a:prstGeom prst="rect">
              <a:avLst/>
            </a:prstGeom>
            <a:solidFill>
              <a:srgbClr val="32C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</p:spTree>
    <p:extLst>
      <p:ext uri="{BB962C8B-B14F-4D97-AF65-F5344CB8AC3E}">
        <p14:creationId xmlns:p14="http://schemas.microsoft.com/office/powerpoint/2010/main" val="8317930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2D60BF-D2CB-46ED-AF4D-D588879D5F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4772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2D60BF-D2CB-46ED-AF4D-D588879D5F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20B3CF-A5C7-45DB-9513-5AB9F3BD2A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1300" y="2002632"/>
            <a:ext cx="7359650" cy="2852737"/>
          </a:xfrm>
        </p:spPr>
        <p:txBody>
          <a:bodyPr vert="horz"/>
          <a:lstStyle/>
          <a:p>
            <a:r>
              <a:rPr lang="es-ES" i="1" dirty="0"/>
              <a:t>KEY FINDING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84F22B1-1CFE-4835-A8B7-4E4FB44706E4}"/>
              </a:ext>
            </a:extLst>
          </p:cNvPr>
          <p:cNvSpPr txBox="1">
            <a:spLocks noChangeAspect="1"/>
          </p:cNvSpPr>
          <p:nvPr/>
        </p:nvSpPr>
        <p:spPr>
          <a:xfrm>
            <a:off x="1487057" y="2105563"/>
            <a:ext cx="1871155" cy="264687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s-ES" sz="16600">
                <a:solidFill>
                  <a:srgbClr val="32C3FF"/>
                </a:solidFill>
              </a:rPr>
              <a:t>3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C4711CB-2A12-427C-98DB-311D4D2E28CA}"/>
              </a:ext>
            </a:extLst>
          </p:cNvPr>
          <p:cNvGrpSpPr/>
          <p:nvPr/>
        </p:nvGrpSpPr>
        <p:grpSpPr>
          <a:xfrm>
            <a:off x="6465661" y="4249109"/>
            <a:ext cx="5726339" cy="2608891"/>
            <a:chOff x="6465661" y="4249109"/>
            <a:chExt cx="5726339" cy="2608891"/>
          </a:xfrm>
        </p:grpSpPr>
        <p:pic>
          <p:nvPicPr>
            <p:cNvPr id="6" name="Graphic 5" descr="Home outline">
              <a:extLst>
                <a:ext uri="{FF2B5EF4-FFF2-40B4-BE49-F238E27FC236}">
                  <a16:creationId xmlns:a16="http://schemas.microsoft.com/office/drawing/2014/main" id="{21A52F0A-121D-4011-885F-E3EC6E05A68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583109" y="4249109"/>
              <a:ext cx="2608891" cy="2608891"/>
            </a:xfrm>
            <a:prstGeom prst="rect">
              <a:avLst/>
            </a:prstGeom>
          </p:spPr>
        </p:pic>
        <p:pic>
          <p:nvPicPr>
            <p:cNvPr id="7" name="Graphic 6" descr="Home outline">
              <a:extLst>
                <a:ext uri="{FF2B5EF4-FFF2-40B4-BE49-F238E27FC236}">
                  <a16:creationId xmlns:a16="http://schemas.microsoft.com/office/drawing/2014/main" id="{31622C32-375A-43AE-985A-7B1E8297A3E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756288" y="4649112"/>
              <a:ext cx="2156108" cy="2156108"/>
            </a:xfrm>
            <a:prstGeom prst="rect">
              <a:avLst/>
            </a:prstGeom>
          </p:spPr>
        </p:pic>
        <p:pic>
          <p:nvPicPr>
            <p:cNvPr id="8" name="Graphic 7" descr="Home outline">
              <a:extLst>
                <a:ext uri="{FF2B5EF4-FFF2-40B4-BE49-F238E27FC236}">
                  <a16:creationId xmlns:a16="http://schemas.microsoft.com/office/drawing/2014/main" id="{C15F421B-A3B1-4A0B-A38D-78B46AD9439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465661" y="5119787"/>
              <a:ext cx="1619915" cy="16199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692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2DF11E9-3BAF-4D77-9148-4825BAF587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8221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2DF11E9-3BAF-4D77-9148-4825BAF587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A5015E-2AA8-4213-8A2B-C3E5BDBF76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y </a:t>
            </a:r>
            <a:r>
              <a:rPr lang="es-ES" b="1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findings</a:t>
            </a:r>
            <a:r>
              <a:rPr lang="es-ES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s-E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1/3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CD8463-B69A-4DFE-9ACC-88A502038A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2143DE-C839-41A0-A357-A80D44BA564F}" type="slidenum">
              <a:rPr lang="es-ES" smtClean="0"/>
              <a:pPr/>
              <a:t>8</a:t>
            </a:fld>
            <a:endParaRPr lang="es-E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B195AB4-4C49-42D4-8894-B2E8238F9D91}"/>
              </a:ext>
            </a:extLst>
          </p:cNvPr>
          <p:cNvSpPr>
            <a:spLocks/>
          </p:cNvSpPr>
          <p:nvPr/>
        </p:nvSpPr>
        <p:spPr>
          <a:xfrm>
            <a:off x="8055713" y="2044700"/>
            <a:ext cx="3631462" cy="4156075"/>
          </a:xfrm>
          <a:prstGeom prst="rect">
            <a:avLst/>
          </a:prstGeom>
          <a:solidFill>
            <a:srgbClr val="32C3FF">
              <a:alpha val="5000"/>
            </a:srgbClr>
          </a:solidFill>
          <a:ln w="12700">
            <a:solidFill>
              <a:srgbClr val="89DD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endParaRPr lang="es-ES" sz="12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4E62292-B68B-4546-B88D-3299EF598451}"/>
              </a:ext>
            </a:extLst>
          </p:cNvPr>
          <p:cNvSpPr txBox="1"/>
          <p:nvPr/>
        </p:nvSpPr>
        <p:spPr>
          <a:xfrm>
            <a:off x="8354749" y="2297492"/>
            <a:ext cx="30333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>
                <a:solidFill>
                  <a:schemeClr val="tx1">
                    <a:lumMod val="50000"/>
                    <a:lumOff val="50000"/>
                  </a:schemeClr>
                </a:solidFill>
              </a:rPr>
              <a:t>…average price of the houses with a waterfront and without a waterfront…</a:t>
            </a:r>
            <a:endParaRPr lang="es-ES" sz="1400" i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D2E137F-3C66-446B-9D01-7C20E1990026}"/>
              </a:ext>
            </a:extLst>
          </p:cNvPr>
          <p:cNvSpPr>
            <a:spLocks/>
          </p:cNvSpPr>
          <p:nvPr/>
        </p:nvSpPr>
        <p:spPr>
          <a:xfrm>
            <a:off x="4289793" y="2044700"/>
            <a:ext cx="3631462" cy="4156075"/>
          </a:xfrm>
          <a:prstGeom prst="rect">
            <a:avLst/>
          </a:prstGeom>
          <a:solidFill>
            <a:srgbClr val="32C3FF">
              <a:alpha val="5000"/>
            </a:srgbClr>
          </a:solidFill>
          <a:ln w="12700">
            <a:solidFill>
              <a:srgbClr val="89DD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endParaRPr lang="es-ES" sz="12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847E85A-5980-45B5-9056-3107330A6BED}"/>
              </a:ext>
            </a:extLst>
          </p:cNvPr>
          <p:cNvSpPr txBox="1"/>
          <p:nvPr/>
        </p:nvSpPr>
        <p:spPr>
          <a:xfrm>
            <a:off x="4588829" y="2297492"/>
            <a:ext cx="30333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…average price of properties with 3 and 4 bedrooms…</a:t>
            </a:r>
            <a:endParaRPr lang="es-E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3B91FEC-6888-4251-8AAC-36EECCD4FDA8}"/>
              </a:ext>
            </a:extLst>
          </p:cNvPr>
          <p:cNvSpPr>
            <a:spLocks/>
          </p:cNvSpPr>
          <p:nvPr/>
        </p:nvSpPr>
        <p:spPr>
          <a:xfrm>
            <a:off x="523874" y="2044700"/>
            <a:ext cx="3631462" cy="4156075"/>
          </a:xfrm>
          <a:prstGeom prst="rect">
            <a:avLst/>
          </a:prstGeom>
          <a:solidFill>
            <a:srgbClr val="32C3FF">
              <a:alpha val="5000"/>
            </a:srgbClr>
          </a:solidFill>
          <a:ln w="12700">
            <a:solidFill>
              <a:srgbClr val="89DD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endParaRPr lang="es-ES" sz="12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6AE67B6-CDF6-47F1-B22D-F52CF73D5E54}"/>
              </a:ext>
            </a:extLst>
          </p:cNvPr>
          <p:cNvSpPr/>
          <p:nvPr/>
        </p:nvSpPr>
        <p:spPr>
          <a:xfrm>
            <a:off x="8328973" y="5087121"/>
            <a:ext cx="3084942" cy="881945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schemeClr val="bg1">
                <a:lumMod val="8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r>
              <a:rPr lang="en-US" sz="1000" dirty="0">
                <a:solidFill>
                  <a:srgbClr val="32C3FF"/>
                </a:solidFill>
              </a:rPr>
              <a:t>select waterfront as waterfront__0_no__1_yes, </a:t>
            </a:r>
          </a:p>
          <a:p>
            <a:r>
              <a:rPr lang="en-US" sz="1000" dirty="0">
                <a:solidFill>
                  <a:srgbClr val="32C3FF"/>
                </a:solidFill>
              </a:rPr>
              <a:t>avg(price) as </a:t>
            </a:r>
            <a:r>
              <a:rPr lang="en-US" sz="1000" dirty="0" err="1">
                <a:solidFill>
                  <a:srgbClr val="32C3FF"/>
                </a:solidFill>
              </a:rPr>
              <a:t>precio_medio</a:t>
            </a:r>
            <a:r>
              <a:rPr lang="en-US" sz="1000" dirty="0">
                <a:solidFill>
                  <a:srgbClr val="32C3FF"/>
                </a:solidFill>
              </a:rPr>
              <a:t> </a:t>
            </a:r>
          </a:p>
          <a:p>
            <a:r>
              <a:rPr lang="en-US" sz="1000" dirty="0">
                <a:solidFill>
                  <a:srgbClr val="32C3FF"/>
                </a:solidFill>
              </a:rPr>
              <a:t>from </a:t>
            </a:r>
            <a:r>
              <a:rPr lang="en-US" sz="1000" dirty="0" err="1">
                <a:solidFill>
                  <a:srgbClr val="32C3FF"/>
                </a:solidFill>
              </a:rPr>
              <a:t>house_price_data</a:t>
            </a:r>
            <a:endParaRPr lang="en-US" sz="1000" dirty="0">
              <a:solidFill>
                <a:srgbClr val="32C3FF"/>
              </a:solidFill>
            </a:endParaRPr>
          </a:p>
          <a:p>
            <a:r>
              <a:rPr lang="en-US" sz="1000" dirty="0">
                <a:solidFill>
                  <a:srgbClr val="32C3FF"/>
                </a:solidFill>
              </a:rPr>
              <a:t>group by waterfront;</a:t>
            </a:r>
            <a:endParaRPr lang="es-ES" sz="1000" dirty="0">
              <a:solidFill>
                <a:srgbClr val="32C3FF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75376C4-E370-4DDD-B036-84BAAF13CC87}"/>
              </a:ext>
            </a:extLst>
          </p:cNvPr>
          <p:cNvSpPr/>
          <p:nvPr/>
        </p:nvSpPr>
        <p:spPr>
          <a:xfrm>
            <a:off x="4563053" y="5087121"/>
            <a:ext cx="3084942" cy="881945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schemeClr val="bg1">
                <a:lumMod val="8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r>
              <a:rPr lang="en-US" sz="1000" dirty="0">
                <a:solidFill>
                  <a:srgbClr val="32C3FF"/>
                </a:solidFill>
              </a:rPr>
              <a:t>select bedrooms, avg(price) as </a:t>
            </a:r>
            <a:r>
              <a:rPr lang="en-US" sz="1000" dirty="0" err="1">
                <a:solidFill>
                  <a:srgbClr val="32C3FF"/>
                </a:solidFill>
              </a:rPr>
              <a:t>precio_medio</a:t>
            </a:r>
            <a:r>
              <a:rPr lang="en-US" sz="1000" dirty="0">
                <a:solidFill>
                  <a:srgbClr val="32C3FF"/>
                </a:solidFill>
              </a:rPr>
              <a:t> </a:t>
            </a:r>
          </a:p>
          <a:p>
            <a:r>
              <a:rPr lang="en-US" sz="1000" dirty="0">
                <a:solidFill>
                  <a:srgbClr val="32C3FF"/>
                </a:solidFill>
              </a:rPr>
              <a:t>from </a:t>
            </a:r>
            <a:r>
              <a:rPr lang="en-US" sz="1000" dirty="0" err="1">
                <a:solidFill>
                  <a:srgbClr val="32C3FF"/>
                </a:solidFill>
              </a:rPr>
              <a:t>house_price_data</a:t>
            </a:r>
            <a:endParaRPr lang="en-US" sz="1000" dirty="0">
              <a:solidFill>
                <a:srgbClr val="32C3FF"/>
              </a:solidFill>
            </a:endParaRPr>
          </a:p>
          <a:p>
            <a:r>
              <a:rPr lang="en-US" sz="1000" dirty="0">
                <a:solidFill>
                  <a:srgbClr val="32C3FF"/>
                </a:solidFill>
              </a:rPr>
              <a:t>where bedrooms = 3 or bedrooms = 4</a:t>
            </a:r>
          </a:p>
          <a:p>
            <a:r>
              <a:rPr lang="en-US" sz="1000" dirty="0">
                <a:solidFill>
                  <a:srgbClr val="32C3FF"/>
                </a:solidFill>
              </a:rPr>
              <a:t>group by bedrooms</a:t>
            </a:r>
          </a:p>
          <a:p>
            <a:r>
              <a:rPr lang="en-US" sz="1000" dirty="0">
                <a:solidFill>
                  <a:srgbClr val="32C3FF"/>
                </a:solidFill>
              </a:rPr>
              <a:t>order by bedrooms </a:t>
            </a:r>
            <a:r>
              <a:rPr lang="en-US" sz="1000" dirty="0" err="1">
                <a:solidFill>
                  <a:srgbClr val="32C3FF"/>
                </a:solidFill>
              </a:rPr>
              <a:t>asc</a:t>
            </a:r>
            <a:r>
              <a:rPr lang="en-US" sz="1000" dirty="0">
                <a:solidFill>
                  <a:srgbClr val="32C3FF"/>
                </a:solidFill>
              </a:rPr>
              <a:t>;</a:t>
            </a:r>
            <a:endParaRPr lang="es-ES" sz="1000" dirty="0">
              <a:solidFill>
                <a:srgbClr val="32C3FF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E32160E-D95D-4BF8-8BAB-53A7210C7435}"/>
              </a:ext>
            </a:extLst>
          </p:cNvPr>
          <p:cNvSpPr/>
          <p:nvPr/>
        </p:nvSpPr>
        <p:spPr>
          <a:xfrm>
            <a:off x="797134" y="5087121"/>
            <a:ext cx="3084942" cy="881945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schemeClr val="bg1">
                <a:lumMod val="8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r>
              <a:rPr lang="en-US" sz="1000" dirty="0">
                <a:solidFill>
                  <a:srgbClr val="32C3FF"/>
                </a:solidFill>
              </a:rPr>
              <a:t>select bedrooms, avg(price) as </a:t>
            </a:r>
            <a:r>
              <a:rPr lang="en-US" sz="1000" dirty="0" err="1">
                <a:solidFill>
                  <a:srgbClr val="32C3FF"/>
                </a:solidFill>
              </a:rPr>
              <a:t>precio_medio</a:t>
            </a:r>
            <a:r>
              <a:rPr lang="en-US" sz="1000" dirty="0">
                <a:solidFill>
                  <a:srgbClr val="32C3FF"/>
                </a:solidFill>
              </a:rPr>
              <a:t>, </a:t>
            </a:r>
          </a:p>
          <a:p>
            <a:r>
              <a:rPr lang="en-US" sz="1000" dirty="0">
                <a:solidFill>
                  <a:srgbClr val="32C3FF"/>
                </a:solidFill>
              </a:rPr>
              <a:t>(</a:t>
            </a:r>
            <a:r>
              <a:rPr lang="en-US" sz="1000" dirty="0" err="1">
                <a:solidFill>
                  <a:srgbClr val="32C3FF"/>
                </a:solidFill>
              </a:rPr>
              <a:t>sqft_living</a:t>
            </a:r>
            <a:r>
              <a:rPr lang="en-US" sz="1000" dirty="0">
                <a:solidFill>
                  <a:srgbClr val="32C3FF"/>
                </a:solidFill>
              </a:rPr>
              <a:t>) as </a:t>
            </a:r>
            <a:r>
              <a:rPr lang="en-US" sz="1000" dirty="0" err="1">
                <a:solidFill>
                  <a:srgbClr val="32C3FF"/>
                </a:solidFill>
              </a:rPr>
              <a:t>living_medio</a:t>
            </a:r>
            <a:r>
              <a:rPr lang="en-US" sz="1000" dirty="0">
                <a:solidFill>
                  <a:srgbClr val="32C3FF"/>
                </a:solidFill>
              </a:rPr>
              <a:t>  </a:t>
            </a:r>
          </a:p>
          <a:p>
            <a:r>
              <a:rPr lang="en-US" sz="1000" dirty="0">
                <a:solidFill>
                  <a:srgbClr val="32C3FF"/>
                </a:solidFill>
              </a:rPr>
              <a:t>from </a:t>
            </a:r>
            <a:r>
              <a:rPr lang="en-US" sz="1000" dirty="0" err="1">
                <a:solidFill>
                  <a:srgbClr val="32C3FF"/>
                </a:solidFill>
              </a:rPr>
              <a:t>house_price_data</a:t>
            </a:r>
            <a:endParaRPr lang="en-US" sz="1000" dirty="0">
              <a:solidFill>
                <a:srgbClr val="32C3FF"/>
              </a:solidFill>
            </a:endParaRPr>
          </a:p>
          <a:p>
            <a:r>
              <a:rPr lang="en-US" sz="1000" dirty="0">
                <a:solidFill>
                  <a:srgbClr val="32C3FF"/>
                </a:solidFill>
              </a:rPr>
              <a:t>group by bedrooms</a:t>
            </a:r>
          </a:p>
          <a:p>
            <a:r>
              <a:rPr lang="en-US" sz="1000" dirty="0">
                <a:solidFill>
                  <a:srgbClr val="32C3FF"/>
                </a:solidFill>
              </a:rPr>
              <a:t>order by bedrooms </a:t>
            </a:r>
            <a:r>
              <a:rPr lang="en-US" sz="1000" dirty="0" err="1">
                <a:solidFill>
                  <a:srgbClr val="32C3FF"/>
                </a:solidFill>
              </a:rPr>
              <a:t>asc</a:t>
            </a:r>
            <a:r>
              <a:rPr lang="en-US" sz="1000" dirty="0">
                <a:solidFill>
                  <a:srgbClr val="32C3FF"/>
                </a:solidFill>
              </a:rPr>
              <a:t>;</a:t>
            </a:r>
            <a:endParaRPr lang="es-ES" sz="1000" dirty="0">
              <a:solidFill>
                <a:srgbClr val="32C3FF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A675BC0-83B7-4C9E-80BB-C94CDD83E2E0}"/>
              </a:ext>
            </a:extLst>
          </p:cNvPr>
          <p:cNvSpPr txBox="1"/>
          <p:nvPr/>
        </p:nvSpPr>
        <p:spPr>
          <a:xfrm>
            <a:off x="822910" y="2297492"/>
            <a:ext cx="30333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>
                <a:solidFill>
                  <a:schemeClr val="tx1">
                    <a:lumMod val="50000"/>
                    <a:lumOff val="50000"/>
                  </a:schemeClr>
                </a:solidFill>
              </a:rPr>
              <a:t>…list of all the properties that were renovated…</a:t>
            </a:r>
            <a:endParaRPr lang="es-ES" sz="1400" i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D77AB4D-D745-47AE-AFB8-52C65833757A}"/>
              </a:ext>
            </a:extLst>
          </p:cNvPr>
          <p:cNvSpPr>
            <a:spLocks noChangeAspect="1"/>
          </p:cNvSpPr>
          <p:nvPr/>
        </p:nvSpPr>
        <p:spPr>
          <a:xfrm>
            <a:off x="8308286" y="3475614"/>
            <a:ext cx="3126315" cy="864000"/>
          </a:xfrm>
          <a:prstGeom prst="rect">
            <a:avLst/>
          </a:prstGeom>
          <a:solidFill>
            <a:schemeClr val="bg1"/>
          </a:solidFill>
          <a:ln w="19050">
            <a:noFill/>
            <a:prstDash val="lgDash"/>
          </a:ln>
          <a:effectLst>
            <a:outerShdw blurRad="50800" dist="38100" dir="2700000" algn="tl" rotWithShape="0">
              <a:schemeClr val="bg1">
                <a:lumMod val="75000"/>
                <a:alpha val="6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endParaRPr lang="es-ES" sz="12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3D26DEED-3AB3-4168-A978-F9232F0F262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61756" y="3545664"/>
            <a:ext cx="2619375" cy="723900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lumMod val="95000"/>
                <a:alpha val="40000"/>
              </a:schemeClr>
            </a:outerShdw>
          </a:effectLst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2B05FA95-AA0D-49B7-BF34-A4725972E209}"/>
              </a:ext>
            </a:extLst>
          </p:cNvPr>
          <p:cNvSpPr>
            <a:spLocks noChangeAspect="1"/>
          </p:cNvSpPr>
          <p:nvPr/>
        </p:nvSpPr>
        <p:spPr>
          <a:xfrm>
            <a:off x="4691706" y="3331614"/>
            <a:ext cx="2827637" cy="1152000"/>
          </a:xfrm>
          <a:prstGeom prst="rect">
            <a:avLst/>
          </a:prstGeom>
          <a:solidFill>
            <a:schemeClr val="bg1"/>
          </a:solidFill>
          <a:ln w="19050">
            <a:noFill/>
            <a:prstDash val="lgDash"/>
          </a:ln>
          <a:effectLst>
            <a:outerShdw blurRad="50800" dist="38100" dir="2700000" algn="tl" rotWithShape="0">
              <a:schemeClr val="bg1">
                <a:lumMod val="75000"/>
                <a:alpha val="6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endParaRPr lang="es-ES" sz="12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CF36E550-88F7-4BC4-85F6-83F4D87384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95837" y="3379248"/>
            <a:ext cx="2619375" cy="1067153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lumMod val="95000"/>
                <a:alpha val="40000"/>
              </a:schemeClr>
            </a:outerShdw>
          </a:effectLst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FFC9EFDC-7E77-4026-9F98-C4435E30F346}"/>
              </a:ext>
            </a:extLst>
          </p:cNvPr>
          <p:cNvSpPr>
            <a:spLocks noChangeAspect="1"/>
          </p:cNvSpPr>
          <p:nvPr/>
        </p:nvSpPr>
        <p:spPr>
          <a:xfrm>
            <a:off x="1600203" y="3025614"/>
            <a:ext cx="1478804" cy="1764000"/>
          </a:xfrm>
          <a:prstGeom prst="rect">
            <a:avLst/>
          </a:prstGeom>
          <a:solidFill>
            <a:schemeClr val="bg1"/>
          </a:solidFill>
          <a:ln w="19050">
            <a:noFill/>
            <a:prstDash val="lgDash"/>
          </a:ln>
          <a:effectLst>
            <a:outerShdw blurRad="50800" dist="38100" dir="2700000" algn="tl" rotWithShape="0">
              <a:schemeClr val="bg1">
                <a:lumMod val="75000"/>
                <a:alpha val="6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endParaRPr lang="es-ES" sz="12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9D5914E5-7A67-4D15-97F3-0DA840C79A43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1654759" y="3090690"/>
            <a:ext cx="1369693" cy="1633848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lumMod val="95000"/>
                <a:alpha val="40000"/>
              </a:schemeClr>
            </a:outerShdw>
          </a:effectLst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8FEE5C9A-A9D7-49F9-9734-B862DBC16D0B}"/>
              </a:ext>
            </a:extLst>
          </p:cNvPr>
          <p:cNvSpPr/>
          <p:nvPr/>
        </p:nvSpPr>
        <p:spPr>
          <a:xfrm>
            <a:off x="523874" y="1091723"/>
            <a:ext cx="11163299" cy="798706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>
              <a:spcBef>
                <a:spcPts val="600"/>
              </a:spcBef>
            </a:pP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QL nos ha servido para </a:t>
            </a:r>
            <a:r>
              <a:rPr lang="es-ES" b="1" dirty="0">
                <a:solidFill>
                  <a:srgbClr val="32C3FF"/>
                </a:solidFill>
              </a:rPr>
              <a:t>explorar y conocer </a:t>
            </a: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 mayor detalle la </a:t>
            </a:r>
            <a:r>
              <a:rPr lang="es-ES" b="1" dirty="0">
                <a:solidFill>
                  <a:srgbClr val="32C3FF"/>
                </a:solidFill>
              </a:rPr>
              <a:t>estructura de los datos y variables</a:t>
            </a: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que afectan al precio de venta de los inmuebles. A continuación algunos ejemplos,</a:t>
            </a:r>
          </a:p>
        </p:txBody>
      </p:sp>
    </p:spTree>
    <p:extLst>
      <p:ext uri="{BB962C8B-B14F-4D97-AF65-F5344CB8AC3E}">
        <p14:creationId xmlns:p14="http://schemas.microsoft.com/office/powerpoint/2010/main" val="38714655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736897-BFA9-41AC-9FCD-17A27AC24D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736897-BFA9-41AC-9FCD-17A27AC24D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>
            <a:extLst>
              <a:ext uri="{FF2B5EF4-FFF2-40B4-BE49-F238E27FC236}">
                <a16:creationId xmlns:a16="http://schemas.microsoft.com/office/drawing/2014/main" id="{7B95E904-E71E-4AE5-9770-025EE1ADAF4C}"/>
              </a:ext>
            </a:extLst>
          </p:cNvPr>
          <p:cNvSpPr/>
          <p:nvPr/>
        </p:nvSpPr>
        <p:spPr>
          <a:xfrm>
            <a:off x="8797670" y="4055984"/>
            <a:ext cx="2816351" cy="2144792"/>
          </a:xfrm>
          <a:prstGeom prst="rect">
            <a:avLst/>
          </a:prstGeom>
          <a:solidFill>
            <a:srgbClr val="32C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95A4A3C-5D91-49FB-8054-8BB5968B73B8}"/>
              </a:ext>
            </a:extLst>
          </p:cNvPr>
          <p:cNvSpPr/>
          <p:nvPr/>
        </p:nvSpPr>
        <p:spPr>
          <a:xfrm>
            <a:off x="515939" y="4467228"/>
            <a:ext cx="8147315" cy="1733547"/>
          </a:xfrm>
          <a:prstGeom prst="rect">
            <a:avLst/>
          </a:prstGeom>
          <a:solidFill>
            <a:srgbClr val="32C3FF">
              <a:alpha val="5000"/>
            </a:srgbClr>
          </a:solidFill>
          <a:ln w="12700">
            <a:solidFill>
              <a:srgbClr val="89DD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endParaRPr lang="es-ES" sz="12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B591CE-E7CD-4793-B511-01EEF4704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y </a:t>
            </a:r>
            <a:r>
              <a:rPr lang="es-ES" b="1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findings</a:t>
            </a:r>
            <a:r>
              <a:rPr lang="es-ES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s-E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2/3)</a:t>
            </a:r>
            <a:endParaRPr lang="es-ES" b="1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B4CA9A8E-E978-4055-AEEB-A94B7C4A4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2143DE-C839-41A0-A357-A80D44BA564F}" type="slidenum">
              <a:rPr lang="es-ES" smtClean="0"/>
              <a:pPr/>
              <a:t>9</a:t>
            </a:fld>
            <a:endParaRPr lang="es-E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D0277FC-C43B-4BC5-A47A-1E9DA33CE5EB}"/>
              </a:ext>
            </a:extLst>
          </p:cNvPr>
          <p:cNvSpPr/>
          <p:nvPr/>
        </p:nvSpPr>
        <p:spPr>
          <a:xfrm>
            <a:off x="646987" y="2818468"/>
            <a:ext cx="2643276" cy="149739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 marL="285750" indent="-285750">
              <a:spcBef>
                <a:spcPts val="600"/>
              </a:spcBef>
              <a:buClr>
                <a:srgbClr val="FFFF00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 primer lugar eliminamos columnas que no afectan  al precio, como ‘ID’ y ‘date’</a:t>
            </a:r>
          </a:p>
        </p:txBody>
      </p:sp>
      <p:sp>
        <p:nvSpPr>
          <p:cNvPr id="3" name="Arrow: Pentagon 2">
            <a:extLst>
              <a:ext uri="{FF2B5EF4-FFF2-40B4-BE49-F238E27FC236}">
                <a16:creationId xmlns:a16="http://schemas.microsoft.com/office/drawing/2014/main" id="{34E63D2C-AEFB-4854-8755-E9E273E6802F}"/>
              </a:ext>
            </a:extLst>
          </p:cNvPr>
          <p:cNvSpPr/>
          <p:nvPr/>
        </p:nvSpPr>
        <p:spPr>
          <a:xfrm>
            <a:off x="523874" y="2155755"/>
            <a:ext cx="2889503" cy="510912"/>
          </a:xfrm>
          <a:prstGeom prst="homePlate">
            <a:avLst/>
          </a:prstGeom>
          <a:solidFill>
            <a:srgbClr val="32C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dirty="0"/>
              <a:t>Eliminamos columnas irrelevantes</a:t>
            </a:r>
          </a:p>
        </p:txBody>
      </p:sp>
      <p:sp>
        <p:nvSpPr>
          <p:cNvPr id="4" name="Arrow: Chevron 3">
            <a:extLst>
              <a:ext uri="{FF2B5EF4-FFF2-40B4-BE49-F238E27FC236}">
                <a16:creationId xmlns:a16="http://schemas.microsoft.com/office/drawing/2014/main" id="{60114289-F104-48A6-960B-292F1448429A}"/>
              </a:ext>
            </a:extLst>
          </p:cNvPr>
          <p:cNvSpPr/>
          <p:nvPr/>
        </p:nvSpPr>
        <p:spPr>
          <a:xfrm>
            <a:off x="8797670" y="2155755"/>
            <a:ext cx="2889503" cy="510912"/>
          </a:xfrm>
          <a:prstGeom prst="chevron">
            <a:avLst/>
          </a:prstGeom>
          <a:solidFill>
            <a:srgbClr val="32C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dirty="0"/>
              <a:t>Modelo escogido</a:t>
            </a: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2A2EE942-E75A-454E-B8DD-66B56B4F5E4D}"/>
              </a:ext>
            </a:extLst>
          </p:cNvPr>
          <p:cNvSpPr/>
          <p:nvPr/>
        </p:nvSpPr>
        <p:spPr>
          <a:xfrm>
            <a:off x="3281806" y="2155755"/>
            <a:ext cx="2889503" cy="510912"/>
          </a:xfrm>
          <a:prstGeom prst="chevron">
            <a:avLst/>
          </a:prstGeom>
          <a:solidFill>
            <a:srgbClr val="32C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dirty="0"/>
              <a:t>Correlación de variables</a:t>
            </a:r>
          </a:p>
        </p:txBody>
      </p:sp>
      <p:sp>
        <p:nvSpPr>
          <p:cNvPr id="14" name="Arrow: Chevron 13">
            <a:extLst>
              <a:ext uri="{FF2B5EF4-FFF2-40B4-BE49-F238E27FC236}">
                <a16:creationId xmlns:a16="http://schemas.microsoft.com/office/drawing/2014/main" id="{7B5E3FB7-87E8-4CCE-9672-B3327E9364D7}"/>
              </a:ext>
            </a:extLst>
          </p:cNvPr>
          <p:cNvSpPr/>
          <p:nvPr/>
        </p:nvSpPr>
        <p:spPr>
          <a:xfrm>
            <a:off x="6039738" y="2155755"/>
            <a:ext cx="2889503" cy="510912"/>
          </a:xfrm>
          <a:prstGeom prst="chevron">
            <a:avLst/>
          </a:prstGeom>
          <a:solidFill>
            <a:srgbClr val="32C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dirty="0">
                <a:solidFill>
                  <a:schemeClr val="bg1"/>
                </a:solidFill>
              </a:rPr>
              <a:t>Dispersión de los dato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C3FD25-2832-4659-8669-1F310E646245}"/>
              </a:ext>
            </a:extLst>
          </p:cNvPr>
          <p:cNvSpPr/>
          <p:nvPr/>
        </p:nvSpPr>
        <p:spPr>
          <a:xfrm>
            <a:off x="3404919" y="2818468"/>
            <a:ext cx="2643276" cy="123751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 marL="285750" indent="-285750">
              <a:spcBef>
                <a:spcPts val="600"/>
              </a:spcBef>
              <a:buClr>
                <a:srgbClr val="FFFF00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camos </a:t>
            </a:r>
            <a:r>
              <a:rPr lang="es-ES" sz="1600" b="1" dirty="0">
                <a:solidFill>
                  <a:srgbClr val="32C3FF"/>
                </a:solidFill>
              </a:rPr>
              <a:t>correlación</a:t>
            </a:r>
            <a:r>
              <a:rPr lang="es-ES" sz="1600" b="1" baseline="30000" dirty="0">
                <a:solidFill>
                  <a:srgbClr val="32C3FF"/>
                </a:solidFill>
              </a:rPr>
              <a:t>1</a:t>
            </a:r>
            <a:r>
              <a:rPr lang="es-E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entre variables para eliminar columnas muy similar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B9CC083-2B36-42B8-B61C-32358B623C83}"/>
              </a:ext>
            </a:extLst>
          </p:cNvPr>
          <p:cNvSpPr/>
          <p:nvPr/>
        </p:nvSpPr>
        <p:spPr>
          <a:xfrm>
            <a:off x="6162851" y="2818468"/>
            <a:ext cx="2643276" cy="1237517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 marL="285750" indent="-285750">
              <a:spcBef>
                <a:spcPts val="600"/>
              </a:spcBef>
              <a:buClr>
                <a:srgbClr val="FFFF00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 eliminan datos no representativos ‘</a:t>
            </a:r>
            <a:r>
              <a:rPr lang="es-ES" sz="16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outliers</a:t>
            </a:r>
            <a:r>
              <a:rPr lang="es-E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’</a:t>
            </a:r>
            <a:r>
              <a:rPr lang="es-ES" sz="16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es-E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irando la </a:t>
            </a:r>
            <a:r>
              <a:rPr lang="es-ES" sz="1600" b="1" dirty="0">
                <a:solidFill>
                  <a:srgbClr val="32C3FF"/>
                </a:solidFill>
              </a:rPr>
              <a:t>dispersión</a:t>
            </a:r>
            <a:r>
              <a:rPr lang="es-ES" sz="1600" b="1" baseline="30000" dirty="0">
                <a:solidFill>
                  <a:srgbClr val="32C3FF"/>
                </a:solidFill>
              </a:rPr>
              <a:t> 2</a:t>
            </a:r>
            <a:r>
              <a:rPr lang="es-E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e esto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828A9A6-3A07-4D2B-A810-BED23D755F21}"/>
              </a:ext>
            </a:extLst>
          </p:cNvPr>
          <p:cNvSpPr/>
          <p:nvPr/>
        </p:nvSpPr>
        <p:spPr>
          <a:xfrm>
            <a:off x="8920783" y="2818468"/>
            <a:ext cx="2643276" cy="102274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 marL="285750" indent="-285750">
              <a:spcBef>
                <a:spcPts val="600"/>
              </a:spcBef>
              <a:buClr>
                <a:srgbClr val="FFFF00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l modelo que ha dado mejores resultados es el de </a:t>
            </a:r>
            <a:r>
              <a:rPr lang="es-ES" sz="1600" b="1" dirty="0" err="1">
                <a:solidFill>
                  <a:srgbClr val="32C3FF"/>
                </a:solidFill>
              </a:rPr>
              <a:t>rfr</a:t>
            </a:r>
            <a:endParaRPr lang="es-ES" sz="1600" b="1" dirty="0">
              <a:solidFill>
                <a:srgbClr val="32C3FF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FC0669B-BCA0-429D-94D3-C55954180A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0101" y="4622819"/>
            <a:ext cx="1673223" cy="1422365"/>
          </a:xfrm>
          <a:prstGeom prst="rect">
            <a:avLst/>
          </a:prstGeom>
          <a:solidFill>
            <a:schemeClr val="bg1"/>
          </a:solidFill>
          <a:ln w="19050">
            <a:noFill/>
            <a:prstDash val="lgDash"/>
          </a:ln>
          <a:effectLst>
            <a:outerShdw blurRad="50800" dist="38100" dir="2700000" algn="tl" rotWithShape="0">
              <a:srgbClr val="32C3FF">
                <a:alpha val="60000"/>
              </a:srgbClr>
            </a:outerShdw>
          </a:effectLst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D610286F-8F5A-4E2B-ACA1-B7C7E890C5B7}"/>
              </a:ext>
            </a:extLst>
          </p:cNvPr>
          <p:cNvSpPr/>
          <p:nvPr/>
        </p:nvSpPr>
        <p:spPr>
          <a:xfrm>
            <a:off x="2510680" y="4653367"/>
            <a:ext cx="1805393" cy="136126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>
              <a:spcBef>
                <a:spcPts val="600"/>
              </a:spcBef>
              <a:buClr>
                <a:srgbClr val="FFFF00"/>
              </a:buClr>
              <a:buSzPct val="70000"/>
            </a:pPr>
            <a:r>
              <a:rPr lang="es-ES" sz="1600" b="1" baseline="30000" dirty="0">
                <a:solidFill>
                  <a:srgbClr val="32C3FF"/>
                </a:solidFill>
              </a:rPr>
              <a:t>1</a:t>
            </a:r>
            <a:r>
              <a:rPr lang="es-E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Matriz de correlación (Se elimina </a:t>
            </a:r>
            <a:r>
              <a:rPr lang="es-ES" sz="16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qft_living</a:t>
            </a:r>
            <a:r>
              <a:rPr lang="es-E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0.88 con </a:t>
            </a:r>
            <a:r>
              <a:rPr lang="es-ES" sz="16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qft_above</a:t>
            </a:r>
            <a:r>
              <a:rPr lang="es-E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D839E22-B395-493F-98FB-29AD84771F61}"/>
              </a:ext>
            </a:extLst>
          </p:cNvPr>
          <p:cNvSpPr/>
          <p:nvPr/>
        </p:nvSpPr>
        <p:spPr>
          <a:xfrm>
            <a:off x="10020597" y="4665066"/>
            <a:ext cx="2128217" cy="1497397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>
              <a:spcBef>
                <a:spcPts val="600"/>
              </a:spcBef>
              <a:buClr>
                <a:srgbClr val="FFFF00"/>
              </a:buClr>
              <a:buSzPct val="70000"/>
            </a:pPr>
            <a:r>
              <a:rPr lang="es-ES" sz="3000" b="1" dirty="0">
                <a:solidFill>
                  <a:srgbClr val="FFFFFF"/>
                </a:solidFill>
              </a:rPr>
              <a:t>R2: </a:t>
            </a:r>
            <a:r>
              <a:rPr lang="es-ES" sz="3000" b="1" dirty="0">
                <a:solidFill>
                  <a:srgbClr val="FFFF00"/>
                </a:solidFill>
              </a:rPr>
              <a:t>0.868…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0B93D4B-BE7D-4BED-B867-CA3D1D0486CD}"/>
              </a:ext>
            </a:extLst>
          </p:cNvPr>
          <p:cNvSpPr/>
          <p:nvPr/>
        </p:nvSpPr>
        <p:spPr>
          <a:xfrm>
            <a:off x="8920783" y="4114098"/>
            <a:ext cx="2643276" cy="57731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>
              <a:spcBef>
                <a:spcPts val="600"/>
              </a:spcBef>
              <a:buClr>
                <a:srgbClr val="FFFF00"/>
              </a:buClr>
              <a:buSzPct val="70000"/>
            </a:pPr>
            <a:r>
              <a:rPr lang="es-ES" sz="2000" b="1" i="1" dirty="0" err="1">
                <a:solidFill>
                  <a:srgbClr val="FFFFFF"/>
                </a:solidFill>
              </a:rPr>
              <a:t>Random</a:t>
            </a:r>
            <a:r>
              <a:rPr lang="es-ES" sz="2000" b="1" i="1" dirty="0">
                <a:solidFill>
                  <a:srgbClr val="FFFFFF"/>
                </a:solidFill>
              </a:rPr>
              <a:t> Forest Regression</a:t>
            </a: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BEFC316-6569-4FA2-B596-0183F5054ACA}"/>
              </a:ext>
            </a:extLst>
          </p:cNvPr>
          <p:cNvSpPr/>
          <p:nvPr/>
        </p:nvSpPr>
        <p:spPr>
          <a:xfrm>
            <a:off x="6734745" y="4653367"/>
            <a:ext cx="1805393" cy="136126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216000" rtlCol="0" anchor="ctr"/>
          <a:lstStyle/>
          <a:p>
            <a:pPr>
              <a:spcBef>
                <a:spcPts val="600"/>
              </a:spcBef>
              <a:buClr>
                <a:srgbClr val="FFFF00"/>
              </a:buClr>
              <a:buSzPct val="70000"/>
            </a:pPr>
            <a:r>
              <a:rPr lang="es-ES" sz="1600" b="1" baseline="30000" dirty="0">
                <a:solidFill>
                  <a:srgbClr val="32C3FF"/>
                </a:solidFill>
              </a:rPr>
              <a:t>2 </a:t>
            </a:r>
            <a:r>
              <a:rPr lang="es-E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 elimina eliminan </a:t>
            </a:r>
            <a:r>
              <a:rPr lang="es-ES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outliers</a:t>
            </a:r>
            <a:r>
              <a:rPr lang="es-E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e cada variable (i.e., sqft_lot15’)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547B91C8-EE34-4C11-B7BF-C8DDD1DA71A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64776" y="4622819"/>
            <a:ext cx="1847439" cy="1422365"/>
          </a:xfrm>
          <a:prstGeom prst="rect">
            <a:avLst/>
          </a:prstGeom>
          <a:solidFill>
            <a:schemeClr val="bg1"/>
          </a:solidFill>
          <a:ln w="19050">
            <a:noFill/>
            <a:prstDash val="lgDash"/>
          </a:ln>
          <a:effectLst>
            <a:outerShdw blurRad="50800" dist="38100" dir="2700000" algn="tl" rotWithShape="0">
              <a:srgbClr val="32C3FF">
                <a:alpha val="60000"/>
              </a:srgbClr>
            </a:outerShdw>
          </a:effectLst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BB53CB25-D235-47A6-A494-2EE78D2ABDFC}"/>
              </a:ext>
            </a:extLst>
          </p:cNvPr>
          <p:cNvSpPr/>
          <p:nvPr/>
        </p:nvSpPr>
        <p:spPr>
          <a:xfrm>
            <a:off x="523874" y="1091723"/>
            <a:ext cx="11163299" cy="798706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>
              <a:spcBef>
                <a:spcPts val="600"/>
              </a:spcBef>
            </a:pP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ediante </a:t>
            </a:r>
            <a:r>
              <a:rPr lang="es-ES" b="1" dirty="0">
                <a:solidFill>
                  <a:srgbClr val="32C3FF"/>
                </a:solidFill>
              </a:rPr>
              <a:t>Python</a:t>
            </a: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hemos </a:t>
            </a:r>
            <a:r>
              <a:rPr lang="es-ES" b="1" dirty="0">
                <a:solidFill>
                  <a:srgbClr val="32C3FF"/>
                </a:solidFill>
              </a:rPr>
              <a:t>limpiado la base de datos </a:t>
            </a: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y filtrado para quedarnos con los datos que hacían funcionar mejor el modelo, a la vez, se han aplicado </a:t>
            </a:r>
            <a:r>
              <a:rPr lang="es-ES" b="1" dirty="0">
                <a:solidFill>
                  <a:srgbClr val="32C3FF"/>
                </a:solidFill>
              </a:rPr>
              <a:t>varios modelos </a:t>
            </a: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ara comparar cuál de ellos daba un mejor resultado</a:t>
            </a:r>
          </a:p>
        </p:txBody>
      </p:sp>
      <p:pic>
        <p:nvPicPr>
          <p:cNvPr id="42" name="Graphic 41" descr="Checkbox Checked with solid fill">
            <a:extLst>
              <a:ext uri="{FF2B5EF4-FFF2-40B4-BE49-F238E27FC236}">
                <a16:creationId xmlns:a16="http://schemas.microsoft.com/office/drawing/2014/main" id="{1EC1C6DB-5DA5-4F46-81F0-2EB429426F9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037655" y="4860552"/>
            <a:ext cx="1106424" cy="1106424"/>
          </a:xfrm>
          <a:prstGeom prst="rect">
            <a:avLst/>
          </a:prstGeom>
        </p:spPr>
      </p:pic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EB0B8B8E-3004-427D-B90A-3D5DD2B1D64C}"/>
              </a:ext>
            </a:extLst>
          </p:cNvPr>
          <p:cNvCxnSpPr>
            <a:cxnSpLocks/>
          </p:cNvCxnSpPr>
          <p:nvPr/>
        </p:nvCxnSpPr>
        <p:spPr>
          <a:xfrm>
            <a:off x="9129224" y="4811659"/>
            <a:ext cx="1614976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84449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F64E6C0BE7D1B4A9E4C377FC7327211" ma:contentTypeVersion="0" ma:contentTypeDescription="Create a new document." ma:contentTypeScope="" ma:versionID="bae43fbc946452ff79b85a38a4b89a96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4f15b030d40ffca33e4aeb8eb001f5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166FC46-C267-45FC-9639-3D9C39246D1F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8031B7B9-BA08-4D0F-8403-B61CAD7C0E8A}">
  <ds:schemaRefs>
    <ds:schemaRef ds:uri="http://purl.org/dc/elements/1.1/"/>
    <ds:schemaRef ds:uri="http://purl.org/dc/terms/"/>
    <ds:schemaRef ds:uri="http://schemas.microsoft.com/internal/obd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4B688A7-0687-4FFF-AB50-B872CC7D1B0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12</TotalTime>
  <Words>765</Words>
  <Application>Microsoft Office PowerPoint</Application>
  <PresentationFormat>Widescreen</PresentationFormat>
  <Paragraphs>102</Paragraphs>
  <Slides>14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</vt:lpstr>
      <vt:lpstr>Calibri</vt:lpstr>
      <vt:lpstr>EYInterstate</vt:lpstr>
      <vt:lpstr>Office Theme</vt:lpstr>
      <vt:lpstr>think-cell Slide</vt:lpstr>
      <vt:lpstr> </vt:lpstr>
      <vt:lpstr>Tabla de contenidos</vt:lpstr>
      <vt:lpstr>Contexto</vt:lpstr>
      <vt:lpstr>Contexto</vt:lpstr>
      <vt:lpstr>Metodología</vt:lpstr>
      <vt:lpstr>Metodología</vt:lpstr>
      <vt:lpstr>KEY FINDINGS</vt:lpstr>
      <vt:lpstr>Key findings (1/3)</vt:lpstr>
      <vt:lpstr>Key findings (2/3)</vt:lpstr>
      <vt:lpstr>Key findings (3/3)</vt:lpstr>
      <vt:lpstr>CONCLUSIONES</vt:lpstr>
      <vt:lpstr>Conclusione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an Viladomiu Tora</dc:creator>
  <cp:lastModifiedBy>Enric Mus Catala</cp:lastModifiedBy>
  <cp:revision>1</cp:revision>
  <dcterms:created xsi:type="dcterms:W3CDTF">2022-11-23T15:38:28Z</dcterms:created>
  <dcterms:modified xsi:type="dcterms:W3CDTF">2022-11-24T16:19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64E6C0BE7D1B4A9E4C377FC7327211</vt:lpwstr>
  </property>
</Properties>
</file>